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3" r:id="rId4"/>
    <p:sldMasterId id="2147483800" r:id="rId5"/>
    <p:sldMasterId id="2147483812" r:id="rId6"/>
    <p:sldMasterId id="2147483818" r:id="rId7"/>
    <p:sldMasterId id="2147483855" r:id="rId8"/>
    <p:sldMasterId id="2147483860" r:id="rId9"/>
    <p:sldMasterId id="2147483866" r:id="rId10"/>
    <p:sldMasterId id="2147483877" r:id="rId11"/>
  </p:sldMasterIdLst>
  <p:notesMasterIdLst>
    <p:notesMasterId r:id="rId18"/>
  </p:notesMasterIdLst>
  <p:handoutMasterIdLst>
    <p:handoutMasterId r:id="rId19"/>
  </p:handoutMasterIdLst>
  <p:sldIdLst>
    <p:sldId id="280" r:id="rId12"/>
    <p:sldId id="1014" r:id="rId13"/>
    <p:sldId id="2145706473" r:id="rId14"/>
    <p:sldId id="2145706456" r:id="rId15"/>
    <p:sldId id="2145706530" r:id="rId16"/>
    <p:sldId id="2146847313" r:id="rId17"/>
  </p:sldIdLst>
  <p:sldSz cx="12192000" cy="6858000"/>
  <p:notesSz cx="6797675" cy="9926638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409" userDrawn="1">
          <p15:clr>
            <a:srgbClr val="A4A3A4"/>
          </p15:clr>
        </p15:guide>
        <p15:guide id="4" orient="horz" pos="709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pos="212" userDrawn="1">
          <p15:clr>
            <a:srgbClr val="A4A3A4"/>
          </p15:clr>
        </p15:guide>
        <p15:guide id="7" pos="74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27AC95"/>
    <a:srgbClr val="B0B0B0"/>
    <a:srgbClr val="0000CD"/>
    <a:srgbClr val="195091"/>
    <a:srgbClr val="EAEAEA"/>
    <a:srgbClr val="92D050"/>
    <a:srgbClr val="FFFFFF"/>
    <a:srgbClr val="DDDDD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031A9A-7020-4E9B-B0B9-A1CC82BB6BD4}" v="17" dt="2024-02-29T13:13:53.123"/>
    <p1510:client id="{CF57A2DA-A64F-4EF0-B6D9-5934ADB13614}" v="7" dt="2024-02-29T13:16:36.6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6" autoAdjust="0"/>
    <p:restoredTop sz="91213" autoAdjust="0"/>
  </p:normalViewPr>
  <p:slideViewPr>
    <p:cSldViewPr snapToGrid="0">
      <p:cViewPr varScale="1">
        <p:scale>
          <a:sx n="99" d="100"/>
          <a:sy n="99" d="100"/>
        </p:scale>
        <p:origin x="1308" y="72"/>
      </p:cViewPr>
      <p:guideLst>
        <p:guide orient="horz" pos="2160"/>
        <p:guide pos="3840"/>
        <p:guide orient="horz" pos="2409"/>
        <p:guide orient="horz" pos="709"/>
        <p:guide orient="horz" pos="4110"/>
        <p:guide pos="212"/>
        <p:guide pos="74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cocq, Charlotte-GMGE" userId="71d9b6c4-9840-4507-8a31-99be54abda9d" providerId="ADAL" clId="{CF57A2DA-A64F-4EF0-B6D9-5934ADB13614}"/>
    <pc:docChg chg="undo custSel modSld replTag">
      <pc:chgData name="Lecocq, Charlotte-GMGE" userId="71d9b6c4-9840-4507-8a31-99be54abda9d" providerId="ADAL" clId="{CF57A2DA-A64F-4EF0-B6D9-5934ADB13614}" dt="2024-02-29T13:17:39.005" v="56" actId="20577"/>
      <pc:docMkLst>
        <pc:docMk/>
      </pc:docMkLst>
      <pc:sldChg chg="modSp mod">
        <pc:chgData name="Lecocq, Charlotte-GMGE" userId="71d9b6c4-9840-4507-8a31-99be54abda9d" providerId="ADAL" clId="{CF57A2DA-A64F-4EF0-B6D9-5934ADB13614}" dt="2024-02-29T13:17:39.005" v="56" actId="20577"/>
        <pc:sldMkLst>
          <pc:docMk/>
          <pc:sldMk cId="939061140" sldId="280"/>
        </pc:sldMkLst>
        <pc:spChg chg="mod">
          <ac:chgData name="Lecocq, Charlotte-GMGE" userId="71d9b6c4-9840-4507-8a31-99be54abda9d" providerId="ADAL" clId="{CF57A2DA-A64F-4EF0-B6D9-5934ADB13614}" dt="2024-02-29T13:16:14.648" v="16" actId="790"/>
          <ac:spMkLst>
            <pc:docMk/>
            <pc:sldMk cId="939061140" sldId="280"/>
            <ac:spMk id="3" creationId="{BE42DC11-3405-A42A-BDBA-E7B1C4FE0B83}"/>
          </ac:spMkLst>
        </pc:spChg>
        <pc:spChg chg="mod">
          <ac:chgData name="Lecocq, Charlotte-GMGE" userId="71d9b6c4-9840-4507-8a31-99be54abda9d" providerId="ADAL" clId="{CF57A2DA-A64F-4EF0-B6D9-5934ADB13614}" dt="2024-02-29T13:17:39.005" v="56" actId="20577"/>
          <ac:spMkLst>
            <pc:docMk/>
            <pc:sldMk cId="939061140" sldId="280"/>
            <ac:spMk id="4" creationId="{0CBA9366-2E7F-62AD-5A98-BA8316356EA1}"/>
          </ac:spMkLst>
        </pc:spChg>
        <pc:spChg chg="mod">
          <ac:chgData name="Lecocq, Charlotte-GMGE" userId="71d9b6c4-9840-4507-8a31-99be54abda9d" providerId="ADAL" clId="{CF57A2DA-A64F-4EF0-B6D9-5934ADB13614}" dt="2024-02-29T13:16:14.648" v="13" actId="947"/>
          <ac:spMkLst>
            <pc:docMk/>
            <pc:sldMk cId="939061140" sldId="280"/>
            <ac:spMk id="11" creationId="{9C723BA3-0E7D-94BC-BF12-40A5397D6233}"/>
          </ac:spMkLst>
        </pc:spChg>
        <pc:graphicFrameChg chg="mod">
          <ac:chgData name="Lecocq, Charlotte-GMGE" userId="71d9b6c4-9840-4507-8a31-99be54abda9d" providerId="ADAL" clId="{CF57A2DA-A64F-4EF0-B6D9-5934ADB13614}" dt="2024-02-29T13:16:14.664" v="20"/>
          <ac:graphicFrameMkLst>
            <pc:docMk/>
            <pc:sldMk cId="939061140" sldId="280"/>
            <ac:graphicFrameMk id="9" creationId="{AF6324CC-F42F-7DAE-A026-EB539882508E}"/>
          </ac:graphicFrameMkLst>
        </pc:graphicFrameChg>
      </pc:sldChg>
      <pc:sldChg chg="addSp delSp modSp mod">
        <pc:chgData name="Lecocq, Charlotte-GMGE" userId="71d9b6c4-9840-4507-8a31-99be54abda9d" providerId="ADAL" clId="{CF57A2DA-A64F-4EF0-B6D9-5934ADB13614}" dt="2024-02-29T13:16:36.634" v="49"/>
        <pc:sldMkLst>
          <pc:docMk/>
          <pc:sldMk cId="1657850837" sldId="2145706473"/>
        </pc:sldMkLst>
        <pc:spChg chg="mod">
          <ac:chgData name="Lecocq, Charlotte-GMGE" userId="71d9b6c4-9840-4507-8a31-99be54abda9d" providerId="ADAL" clId="{CF57A2DA-A64F-4EF0-B6D9-5934ADB13614}" dt="2024-02-29T13:16:36.593" v="22" actId="948"/>
          <ac:spMkLst>
            <pc:docMk/>
            <pc:sldMk cId="1657850837" sldId="2145706473"/>
            <ac:spMk id="3" creationId="{A749E63D-F214-EBB0-50C9-BB202202E1AD}"/>
          </ac:spMkLst>
        </pc:spChg>
        <pc:spChg chg="add del mod modVis">
          <ac:chgData name="Lecocq, Charlotte-GMGE" userId="71d9b6c4-9840-4507-8a31-99be54abda9d" providerId="ADAL" clId="{CF57A2DA-A64F-4EF0-B6D9-5934ADB13614}" dt="2024-02-29T13:16:36.631" v="47"/>
          <ac:spMkLst>
            <pc:docMk/>
            <pc:sldMk cId="1657850837" sldId="2145706473"/>
            <ac:spMk id="11" creationId="{FFD10EBC-FC1D-9FCC-51AF-659A29BD2AE9}"/>
          </ac:spMkLst>
        </pc:spChg>
        <pc:graphicFrameChg chg="mod">
          <ac:chgData name="Lecocq, Charlotte-GMGE" userId="71d9b6c4-9840-4507-8a31-99be54abda9d" providerId="ADAL" clId="{CF57A2DA-A64F-4EF0-B6D9-5934ADB13614}" dt="2024-02-29T13:16:36.634" v="49"/>
          <ac:graphicFrameMkLst>
            <pc:docMk/>
            <pc:sldMk cId="1657850837" sldId="2145706473"/>
            <ac:graphicFrameMk id="12" creationId="{87F36838-8D14-0131-1D93-A391B7584FD3}"/>
          </ac:graphicFrameMkLst>
        </pc:graphicFrameChg>
      </pc:sldChg>
    </pc:docChg>
  </pc:docChgLst>
  <pc:docChgLst>
    <pc:chgData name="Lecocq, Charlotte-GMGE" userId="71d9b6c4-9840-4507-8a31-99be54abda9d" providerId="ADAL" clId="{BD031A9A-7020-4E9B-B0B9-A1CC82BB6BD4}"/>
    <pc:docChg chg="undo custSel addSld delSld modSld replTag">
      <pc:chgData name="Lecocq, Charlotte-GMGE" userId="71d9b6c4-9840-4507-8a31-99be54abda9d" providerId="ADAL" clId="{BD031A9A-7020-4E9B-B0B9-A1CC82BB6BD4}" dt="2024-02-29T13:13:54.981" v="37" actId="47"/>
      <pc:docMkLst>
        <pc:docMk/>
      </pc:docMkLst>
      <pc:sldChg chg="modNotesTx">
        <pc:chgData name="Lecocq, Charlotte-GMGE" userId="71d9b6c4-9840-4507-8a31-99be54abda9d" providerId="ADAL" clId="{BD031A9A-7020-4E9B-B0B9-A1CC82BB6BD4}" dt="2024-02-29T13:09:47.269" v="0" actId="6549"/>
        <pc:sldMkLst>
          <pc:docMk/>
          <pc:sldMk cId="2769431905" sldId="1014"/>
        </pc:sldMkLst>
      </pc:sldChg>
      <pc:sldChg chg="modNotesTx">
        <pc:chgData name="Lecocq, Charlotte-GMGE" userId="71d9b6c4-9840-4507-8a31-99be54abda9d" providerId="ADAL" clId="{BD031A9A-7020-4E9B-B0B9-A1CC82BB6BD4}" dt="2024-02-29T13:10:05.616" v="1" actId="6549"/>
        <pc:sldMkLst>
          <pc:docMk/>
          <pc:sldMk cId="3823630714" sldId="2145706456"/>
        </pc:sldMkLst>
      </pc:sldChg>
      <pc:sldChg chg="modNotesTx">
        <pc:chgData name="Lecocq, Charlotte-GMGE" userId="71d9b6c4-9840-4507-8a31-99be54abda9d" providerId="ADAL" clId="{BD031A9A-7020-4E9B-B0B9-A1CC82BB6BD4}" dt="2024-02-29T13:10:11.654" v="2" actId="6549"/>
        <pc:sldMkLst>
          <pc:docMk/>
          <pc:sldMk cId="575454852" sldId="2145706530"/>
        </pc:sldMkLst>
      </pc:sldChg>
      <pc:sldChg chg="addSp delSp del mod addAnim delAnim modAnim">
        <pc:chgData name="Lecocq, Charlotte-GMGE" userId="71d9b6c4-9840-4507-8a31-99be54abda9d" providerId="ADAL" clId="{BD031A9A-7020-4E9B-B0B9-A1CC82BB6BD4}" dt="2024-02-29T13:13:54.981" v="37" actId="47"/>
        <pc:sldMkLst>
          <pc:docMk/>
          <pc:sldMk cId="475319179" sldId="2146847312"/>
        </pc:sldMkLst>
        <pc:spChg chg="add del">
          <ac:chgData name="Lecocq, Charlotte-GMGE" userId="71d9b6c4-9840-4507-8a31-99be54abda9d" providerId="ADAL" clId="{BD031A9A-7020-4E9B-B0B9-A1CC82BB6BD4}" dt="2024-02-29T13:13:42.395" v="31" actId="21"/>
          <ac:spMkLst>
            <pc:docMk/>
            <pc:sldMk cId="475319179" sldId="2146847312"/>
            <ac:spMk id="12" creationId="{85CF042B-4EF9-49A4-AD9F-41319EDD7C1F}"/>
          </ac:spMkLst>
        </pc:spChg>
        <pc:picChg chg="add del">
          <ac:chgData name="Lecocq, Charlotte-GMGE" userId="71d9b6c4-9840-4507-8a31-99be54abda9d" providerId="ADAL" clId="{BD031A9A-7020-4E9B-B0B9-A1CC82BB6BD4}" dt="2024-02-29T13:13:42.395" v="31" actId="21"/>
          <ac:picMkLst>
            <pc:docMk/>
            <pc:sldMk cId="475319179" sldId="2146847312"/>
            <ac:picMk id="10" creationId="{94915081-F6DE-872F-5728-608D9E5A13F6}"/>
          </ac:picMkLst>
        </pc:picChg>
      </pc:sldChg>
      <pc:sldChg chg="addSp delSp modSp new add del mod modAnim">
        <pc:chgData name="Lecocq, Charlotte-GMGE" userId="71d9b6c4-9840-4507-8a31-99be54abda9d" providerId="ADAL" clId="{BD031A9A-7020-4E9B-B0B9-A1CC82BB6BD4}" dt="2024-02-29T13:13:53.123" v="36"/>
        <pc:sldMkLst>
          <pc:docMk/>
          <pc:sldMk cId="2648849151" sldId="2146847313"/>
        </pc:sldMkLst>
        <pc:spChg chg="del">
          <ac:chgData name="Lecocq, Charlotte-GMGE" userId="71d9b6c4-9840-4507-8a31-99be54abda9d" providerId="ADAL" clId="{BD031A9A-7020-4E9B-B0B9-A1CC82BB6BD4}" dt="2024-02-29T13:13:20.043" v="10" actId="478"/>
          <ac:spMkLst>
            <pc:docMk/>
            <pc:sldMk cId="2648849151" sldId="2146847313"/>
            <ac:spMk id="2" creationId="{A4F0F901-0FF8-ED2B-EA07-BA5A5043483E}"/>
          </ac:spMkLst>
        </pc:spChg>
        <pc:spChg chg="del">
          <ac:chgData name="Lecocq, Charlotte-GMGE" userId="71d9b6c4-9840-4507-8a31-99be54abda9d" providerId="ADAL" clId="{BD031A9A-7020-4E9B-B0B9-A1CC82BB6BD4}" dt="2024-02-29T13:13:20.043" v="10" actId="478"/>
          <ac:spMkLst>
            <pc:docMk/>
            <pc:sldMk cId="2648849151" sldId="2146847313"/>
            <ac:spMk id="3" creationId="{29431057-DB07-5EFB-7571-39B579D5E7DD}"/>
          </ac:spMkLst>
        </pc:spChg>
        <pc:spChg chg="del">
          <ac:chgData name="Lecocq, Charlotte-GMGE" userId="71d9b6c4-9840-4507-8a31-99be54abda9d" providerId="ADAL" clId="{BD031A9A-7020-4E9B-B0B9-A1CC82BB6BD4}" dt="2024-02-29T13:13:20.043" v="10" actId="478"/>
          <ac:spMkLst>
            <pc:docMk/>
            <pc:sldMk cId="2648849151" sldId="2146847313"/>
            <ac:spMk id="4" creationId="{048B4E73-74C8-4B11-9BBF-3DE01A051D92}"/>
          </ac:spMkLst>
        </pc:spChg>
        <pc:spChg chg="del">
          <ac:chgData name="Lecocq, Charlotte-GMGE" userId="71d9b6c4-9840-4507-8a31-99be54abda9d" providerId="ADAL" clId="{BD031A9A-7020-4E9B-B0B9-A1CC82BB6BD4}" dt="2024-02-29T13:13:20.043" v="10" actId="478"/>
          <ac:spMkLst>
            <pc:docMk/>
            <pc:sldMk cId="2648849151" sldId="2146847313"/>
            <ac:spMk id="5" creationId="{53020F73-446B-A930-E3E6-89967685E7A5}"/>
          </ac:spMkLst>
        </pc:spChg>
        <pc:spChg chg="add del mod">
          <ac:chgData name="Lecocq, Charlotte-GMGE" userId="71d9b6c4-9840-4507-8a31-99be54abda9d" providerId="ADAL" clId="{BD031A9A-7020-4E9B-B0B9-A1CC82BB6BD4}" dt="2024-02-29T13:13:33.945" v="28"/>
          <ac:spMkLst>
            <pc:docMk/>
            <pc:sldMk cId="2648849151" sldId="2146847313"/>
            <ac:spMk id="8" creationId="{C88DA4E5-D566-D702-F264-50C8E24E3FA6}"/>
          </ac:spMkLst>
        </pc:spChg>
        <pc:spChg chg="add mod">
          <ac:chgData name="Lecocq, Charlotte-GMGE" userId="71d9b6c4-9840-4507-8a31-99be54abda9d" providerId="ADAL" clId="{BD031A9A-7020-4E9B-B0B9-A1CC82BB6BD4}" dt="2024-02-29T13:13:45.087" v="32"/>
          <ac:spMkLst>
            <pc:docMk/>
            <pc:sldMk cId="2648849151" sldId="2146847313"/>
            <ac:spMk id="10" creationId="{20914E4E-842A-1393-5598-373BA8EE61F3}"/>
          </ac:spMkLst>
        </pc:spChg>
        <pc:graphicFrameChg chg="add mod modVis replST">
          <ac:chgData name="Lecocq, Charlotte-GMGE" userId="71d9b6c4-9840-4507-8a31-99be54abda9d" providerId="ADAL" clId="{BD031A9A-7020-4E9B-B0B9-A1CC82BB6BD4}" dt="2024-02-29T13:13:53.123" v="36"/>
          <ac:graphicFrameMkLst>
            <pc:docMk/>
            <pc:sldMk cId="2648849151" sldId="2146847313"/>
            <ac:graphicFrameMk id="6" creationId="{97C3828B-409F-19B9-B65F-D53B67C11717}"/>
          </ac:graphicFrameMkLst>
        </pc:graphicFrameChg>
        <pc:picChg chg="add del mod">
          <ac:chgData name="Lecocq, Charlotte-GMGE" userId="71d9b6c4-9840-4507-8a31-99be54abda9d" providerId="ADAL" clId="{BD031A9A-7020-4E9B-B0B9-A1CC82BB6BD4}" dt="2024-02-29T13:13:33.945" v="28"/>
          <ac:picMkLst>
            <pc:docMk/>
            <pc:sldMk cId="2648849151" sldId="2146847313"/>
            <ac:picMk id="7" creationId="{9BA0039E-B174-0DCF-1978-332034672DC5}"/>
          </ac:picMkLst>
        </pc:picChg>
        <pc:picChg chg="add mod">
          <ac:chgData name="Lecocq, Charlotte-GMGE" userId="71d9b6c4-9840-4507-8a31-99be54abda9d" providerId="ADAL" clId="{BD031A9A-7020-4E9B-B0B9-A1CC82BB6BD4}" dt="2024-02-29T13:13:45.087" v="32"/>
          <ac:picMkLst>
            <pc:docMk/>
            <pc:sldMk cId="2648849151" sldId="2146847313"/>
            <ac:picMk id="9" creationId="{011739B8-D1DF-B0D5-1DA3-9E99B261649A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consultdss.sharepoint.com/teams/Migros/Shared%20Documents/General/02_Projectfiles/SPL_WorkingFile/20230809_MGE_Opportunit&#233;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6500"/>
            </a:solidFill>
            <a:ln>
              <a:noFill/>
            </a:ln>
            <a:effectLst/>
          </c:spPr>
          <c:invertIfNegative val="0"/>
          <c:cat>
            <c:strRef>
              <c:f>'[20230809_MGE_Opportunités.xlsx]Feuil1 (2)'!$B$6:$B$12</c:f>
              <c:strCache>
                <c:ptCount val="7"/>
                <c:pt idx="0">
                  <c:v>Rénovations</c:v>
                </c:pt>
                <c:pt idx="1">
                  <c:v>Greenflex</c:v>
                </c:pt>
                <c:pt idx="2">
                  <c:v>Autonomes</c:v>
                </c:pt>
                <c:pt idx="3">
                  <c:v>Relamping</c:v>
                </c:pt>
                <c:pt idx="4">
                  <c:v>Compteurs</c:v>
                </c:pt>
                <c:pt idx="5">
                  <c:v>Froid</c:v>
                </c:pt>
                <c:pt idx="6">
                  <c:v>Ecogestes</c:v>
                </c:pt>
              </c:strCache>
            </c:strRef>
          </c:cat>
          <c:val>
            <c:numRef>
              <c:f>'[20230809_MGE_Opportunités.xlsx]Feuil1 (2)'!$C$6:$C$12</c:f>
              <c:numCache>
                <c:formatCode>General</c:formatCode>
                <c:ptCount val="7"/>
                <c:pt idx="0">
                  <c:v>3000</c:v>
                </c:pt>
                <c:pt idx="1">
                  <c:v>1100</c:v>
                </c:pt>
                <c:pt idx="2">
                  <c:v>500</c:v>
                </c:pt>
                <c:pt idx="3">
                  <c:v>350</c:v>
                </c:pt>
                <c:pt idx="4">
                  <c:v>150</c:v>
                </c:pt>
                <c:pt idx="5">
                  <c:v>100</c:v>
                </c:pt>
                <c:pt idx="6">
                  <c:v>1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DD-4D82-887F-DF2AB7EE02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70923376"/>
        <c:axId val="405086271"/>
      </c:barChart>
      <c:catAx>
        <c:axId val="3709233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405086271"/>
        <c:crosses val="autoZero"/>
        <c:auto val="1"/>
        <c:lblAlgn val="ctr"/>
        <c:lblOffset val="100"/>
        <c:noMultiLvlLbl val="0"/>
      </c:catAx>
      <c:valAx>
        <c:axId val="405086271"/>
        <c:scaling>
          <c:orientation val="minMax"/>
          <c:max val="30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70923376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DDC1D0-5B04-4BF1-8523-82B2E81732F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2D15F-4E50-4AC3-9049-37EF48867DF9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6715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659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E685D21-FF57-4D33-ABC6-69E7D127CE20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3558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E685D21-FF57-4D33-ABC6-69E7D127CE20}" type="slidenum">
              <a:rPr lang="de-CH" smtClean="0"/>
              <a:pPr>
                <a:defRPr/>
              </a:pPr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98343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E685D21-FF57-4D33-ABC6-69E7D127CE20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706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98CAB7-7F61-4FA3-86CF-607D3E2562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751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8CAB7-7F61-4FA3-86CF-607D3E25623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014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98CAB7-7F61-4FA3-86CF-607D3E2562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383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7.jpe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3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4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.xml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23.sv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1.sv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2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2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Relationship Id="rId5" Type="http://schemas.openxmlformats.org/officeDocument/2006/relationships/image" Target="../media/image26.png"/><Relationship Id="rId4" Type="http://schemas.openxmlformats.org/officeDocument/2006/relationships/image" Target="../media/image24.emf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Relationship Id="rId5" Type="http://schemas.openxmlformats.org/officeDocument/2006/relationships/image" Target="../media/image31.emf"/><Relationship Id="rId4" Type="http://schemas.openxmlformats.org/officeDocument/2006/relationships/image" Target="../media/image27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9312600" y="6115682"/>
            <a:ext cx="2543861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0074" y="6204943"/>
            <a:ext cx="1938534" cy="54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5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2852741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3249616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6" y="3644903"/>
            <a:ext cx="2768020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2275451"/>
            <a:ext cx="3793425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1629242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_Bild_rechts_Titel_durchgeh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Bild rechts, Text link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183924" y="1125537"/>
            <a:ext cx="5667452" cy="5399087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36062" y="1128920"/>
            <a:ext cx="5686318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36737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4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3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3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fr-CH" noProof="0"/>
              <a:t>Coopérative Migros Genève  |  Conseil d'administration 2 décembre 2021</a:t>
            </a:r>
            <a:endParaRPr lang="de-CH" noProof="0"/>
          </a:p>
        </p:txBody>
      </p:sp>
      <p:sp>
        <p:nvSpPr>
          <p:cNvPr id="12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591901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_2Spalten_Bil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340625" y="1125538"/>
            <a:ext cx="5667452" cy="256540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21759" y="3824288"/>
            <a:ext cx="5686318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183927" y="1125537"/>
            <a:ext cx="5667452" cy="2565400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83925" y="3824288"/>
            <a:ext cx="567201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/>
              <a:t>2 Spalten, Bilder oben, Text un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36737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3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3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8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Fußzeilenplatzhalter 24"/>
          <p:cNvSpPr txBox="1"/>
          <p:nvPr userDrawn="1"/>
        </p:nvSpPr>
        <p:spPr>
          <a:xfrm>
            <a:off x="1440655" y="6640613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3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Coopérative Migros Genève  |  Conseil d'administration 2 décembre 2021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805762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_Bild_links_Titel_durchgeh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Bild links, Text recht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340625" y="1125537"/>
            <a:ext cx="5667452" cy="5399087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183925" y="1125538"/>
            <a:ext cx="5672015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36737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4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3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2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ußzeilenplatzhalter 24"/>
          <p:cNvSpPr txBox="1"/>
          <p:nvPr userDrawn="1"/>
        </p:nvSpPr>
        <p:spPr>
          <a:xfrm>
            <a:off x="1440655" y="6640613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3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Coopérative Migros Genève  |  Conseil d'administration 2 décembre 2021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4407295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_Bild_rechts_Titel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060" y="259200"/>
            <a:ext cx="5672018" cy="432950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Bild rechts, Text link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183923" y="259200"/>
            <a:ext cx="5672718" cy="6265426"/>
          </a:xfrm>
          <a:prstGeom prst="rect">
            <a:avLst/>
          </a:prstGeom>
          <a:solidFill>
            <a:srgbClr val="EAEAEA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30275" y="729162"/>
            <a:ext cx="966144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72000" bIns="3600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2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endParaRPr lang="de-CH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3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3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fr-CH" noProof="0"/>
              <a:t>Coopérative Migros Genève  |  Conseil d'administration 2 décembre 2021</a:t>
            </a:r>
            <a:endParaRPr lang="de-CH" noProof="0"/>
          </a:p>
        </p:txBody>
      </p:sp>
      <p:sp>
        <p:nvSpPr>
          <p:cNvPr id="16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7" name="Picture 13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36062" y="1128920"/>
            <a:ext cx="5686318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2105997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9312600" y="6115682"/>
            <a:ext cx="2543861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0074" y="6204943"/>
            <a:ext cx="1938534" cy="54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5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2852741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3249616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6" y="3644903"/>
            <a:ext cx="2768020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2275451"/>
            <a:ext cx="3793425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32722788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24.07.2023</a:t>
            </a:r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Master Power Point Modè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65976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24.07.2023</a:t>
            </a:r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Master Power Point Modè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45584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- eigenes Bild wä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14"/>
            <a:ext cx="12192000" cy="6115668"/>
          </a:xfrm>
          <a:prstGeom prst="rect">
            <a:avLst/>
          </a:prstGeom>
          <a:solidFill>
            <a:srgbClr val="EAEAEA"/>
          </a:solidFill>
        </p:spPr>
        <p:txBody>
          <a:bodyPr anchor="ctr"/>
          <a:lstStyle>
            <a:lvl1pPr marL="0" indent="0" algn="l">
              <a:buNone/>
              <a:defRPr baseline="0">
                <a:solidFill>
                  <a:schemeClr val="tx2"/>
                </a:solidFill>
                <a:sym typeface="Wingdings"/>
              </a:defRPr>
            </a:lvl1pPr>
          </a:lstStyle>
          <a:p>
            <a:r>
              <a:rPr lang="de-CH"/>
              <a:t>                                                                                            </a:t>
            </a:r>
            <a:r>
              <a:rPr lang="de-CH" err="1"/>
              <a:t>Titrebild</a:t>
            </a:r>
            <a:r>
              <a:rPr lang="de-CH"/>
              <a:t> durch klicken auf Symbol hinzufügen</a:t>
            </a:r>
          </a:p>
        </p:txBody>
      </p:sp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5517232"/>
            <a:ext cx="368654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Vorname Name, Datum</a:t>
            </a:r>
          </a:p>
        </p:txBody>
      </p:sp>
      <p:sp>
        <p:nvSpPr>
          <p:cNvPr id="4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5051450"/>
            <a:ext cx="228231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47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8" y="1844824"/>
            <a:ext cx="131089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Anlass</a:t>
            </a:r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1115732"/>
            <a:ext cx="4583705" cy="657084"/>
          </a:xfrm>
          <a:prstGeom prst="rect">
            <a:avLst/>
          </a:prstGeom>
          <a:solidFill>
            <a:schemeClr val="accent1">
              <a:alpha val="8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393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969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9768408" y="6115682"/>
            <a:ext cx="2088053" cy="742318"/>
            <a:chOff x="7566486" y="6115682"/>
            <a:chExt cx="2066887" cy="742318"/>
          </a:xfrm>
        </p:grpSpPr>
        <p:sp>
          <p:nvSpPr>
            <p:cNvPr id="20" name="Rechteck 19"/>
            <p:cNvSpPr/>
            <p:nvPr userDrawn="1"/>
          </p:nvSpPr>
          <p:spPr bwMode="auto">
            <a:xfrm>
              <a:off x="7566486" y="6115682"/>
              <a:ext cx="2066887" cy="742318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1"/>
            <a:lstStyle/>
            <a:p>
              <a:pPr algn="ctr" eaLnBrk="0" hangingPunct="0"/>
              <a:endParaRPr lang="de-CH" sz="1969"/>
            </a:p>
          </p:txBody>
        </p:sp>
        <p:pic>
          <p:nvPicPr>
            <p:cNvPr id="19" name="Picture 21"/>
            <p:cNvPicPr>
              <a:picLocks noChangeArrowheads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8169" y="6204943"/>
              <a:ext cx="1855108" cy="544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F1A3B347-4B9F-C031-484E-9DE05897FDC5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13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181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sfolie mit Box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H"/>
              <a:t>24.07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Master Power Point Modèle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386FD430-860F-4C30-83C5-6EA8AFBAB823}"/>
              </a:ext>
            </a:extLst>
          </p:cNvPr>
          <p:cNvCxnSpPr>
            <a:cxnSpLocks/>
          </p:cNvCxnSpPr>
          <p:nvPr userDrawn="1"/>
        </p:nvCxnSpPr>
        <p:spPr>
          <a:xfrm>
            <a:off x="-66517" y="1352550"/>
            <a:ext cx="0" cy="525462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800F8F0E-6BA0-0454-7FC6-E3DA5293017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5D1A3D34-3F1D-F51C-4097-E29F1DEEEC5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99E2AE8-E468-2469-007B-51720B0398D8}"/>
              </a:ext>
            </a:extLst>
          </p:cNvPr>
          <p:cNvSpPr txBox="1"/>
          <p:nvPr userDrawn="1"/>
        </p:nvSpPr>
        <p:spPr bwMode="auto">
          <a:xfrm rot="16200000">
            <a:off x="-203858" y="3915926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4,6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48BE1A6-A758-92A6-05B7-B815DB1B09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F5B88F7F-3E23-1C8A-5A32-8372D870C7D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F6854618-9232-D05E-8AF8-0923E4FB713A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2,1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45" name="Gerade Verbindung 39">
            <a:extLst>
              <a:ext uri="{FF2B5EF4-FFF2-40B4-BE49-F238E27FC236}">
                <a16:creationId xmlns:a16="http://schemas.microsoft.com/office/drawing/2014/main" id="{33EB78E6-BA2D-7DFE-0453-56D681874EA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34858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F4F0A463-0221-AC37-4230-E8FE24A357DD}"/>
              </a:ext>
            </a:extLst>
          </p:cNvPr>
          <p:cNvSpPr txBox="1"/>
          <p:nvPr userDrawn="1"/>
        </p:nvSpPr>
        <p:spPr bwMode="auto">
          <a:xfrm rot="16200000">
            <a:off x="-175003" y="112267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,9</a:t>
            </a:r>
            <a:endParaRPr lang="fr" sz="600" b="1">
              <a:solidFill>
                <a:schemeClr val="tx2"/>
              </a:solidFill>
            </a:endParaRPr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24EEFBE4-1815-4268-0196-7AC69F7E5E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825" y="1026000"/>
            <a:ext cx="11687174" cy="324000"/>
          </a:xfrm>
          <a:solidFill>
            <a:schemeClr val="tx2"/>
          </a:solidFill>
        </p:spPr>
        <p:txBody>
          <a:bodyPr lIns="72000" tIns="0" rIns="72000" anchor="ctr" anchorCtr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</a:t>
            </a:r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350000"/>
            <a:ext cx="11687174" cy="5256000"/>
          </a:xfrm>
          <a:noFill/>
        </p:spPr>
        <p:txBody>
          <a:bodyPr lIns="0" tIns="72000" rIns="0" bIns="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extplatzhalter 38">
            <a:extLst>
              <a:ext uri="{FF2B5EF4-FFF2-40B4-BE49-F238E27FC236}">
                <a16:creationId xmlns:a16="http://schemas.microsoft.com/office/drawing/2014/main" id="{E520BDE9-D2D0-1A77-368A-9B00BAF12B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3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C41D5163-721C-422B-5264-BA23A9120990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AA054B00-D618-E9BF-016D-1E1D6C4FFBD2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,88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96203D-7819-C7AB-D1A7-5F8FF10190D9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,7</a:t>
            </a:r>
          </a:p>
        </p:txBody>
      </p: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109FFF45-1E2E-680A-02A5-9FCD1AB3960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389B3FAB-89C0-24BB-6DC8-3B95B998F4AA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5">
            <a:extLst>
              <a:ext uri="{FF2B5EF4-FFF2-40B4-BE49-F238E27FC236}">
                <a16:creationId xmlns:a16="http://schemas.microsoft.com/office/drawing/2014/main" id="{D04BCC61-5E82-EEB5-2451-CB30F44D8E19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FE2FC740-D262-C3AE-F0DD-C7B9CC4A2339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,88 </a:t>
            </a:r>
          </a:p>
        </p:txBody>
      </p: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6E2444B4-26F1-E4E2-141B-F7FE09F4E2B1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D88145AF-B1B1-FA10-C8F8-8E0B18A27D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716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  <p15:guide id="13" orient="horz" pos="848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2D2D0FB-2041-4CF3-96F7-7DCD787EE534}"/>
              </a:ext>
            </a:extLst>
          </p:cNvPr>
          <p:cNvSpPr/>
          <p:nvPr/>
        </p:nvSpPr>
        <p:spPr>
          <a:xfrm>
            <a:off x="1" y="0"/>
            <a:ext cx="12192001" cy="6858000"/>
          </a:xfrm>
          <a:prstGeom prst="rect">
            <a:avLst/>
          </a:prstGeom>
          <a:solidFill>
            <a:srgbClr val="19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C0BE1CC5-1E26-4C8A-B29E-5798AB2A8B3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22" r="24403" b="6561"/>
          <a:stretch/>
        </p:blipFill>
        <p:spPr>
          <a:xfrm>
            <a:off x="5760994" y="0"/>
            <a:ext cx="6431006" cy="6858000"/>
          </a:xfrm>
          <a:prstGeom prst="rect">
            <a:avLst/>
          </a:prstGeom>
        </p:spPr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76D374B-AD46-48A1-AC7B-0C157939EA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0" y="2670179"/>
            <a:ext cx="5071532" cy="482184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rgbClr val="DCDDDE"/>
                </a:solidFill>
                <a:latin typeface="Century Gothic" panose="020B0502020202020204" pitchFamily="34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nter the date (e.g.1st January 2022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27D30-1DD0-4626-AF9D-8489952665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8700" y="806451"/>
            <a:ext cx="5071587" cy="1674283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="1" i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defRPr sz="3733" b="1" i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>
              <a:defRPr sz="3733" b="1" i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>
              <a:defRPr sz="3733" b="1" i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>
              <a:defRPr sz="3733" b="1" i="0" baseline="0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Add title of your presentation</a:t>
            </a:r>
            <a:endParaRPr lang="en-SG" dirty="0"/>
          </a:p>
        </p:txBody>
      </p:sp>
      <p:pic>
        <p:nvPicPr>
          <p:cNvPr id="14" name="Picture 13" descr="Logo&#10;&#10;Description automatically generated with low confidence">
            <a:extLst>
              <a:ext uri="{FF2B5EF4-FFF2-40B4-BE49-F238E27FC236}">
                <a16:creationId xmlns:a16="http://schemas.microsoft.com/office/drawing/2014/main" id="{D4C07E19-94F1-4677-B66B-5C3826CA06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799" y="4212616"/>
            <a:ext cx="4562001" cy="1889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FE1909-FD96-4F81-8729-90D21666E05E}"/>
              </a:ext>
            </a:extLst>
          </p:cNvPr>
          <p:cNvSpPr txBox="1"/>
          <p:nvPr userDrawn="1"/>
        </p:nvSpPr>
        <p:spPr>
          <a:xfrm>
            <a:off x="7853647" y="5023163"/>
            <a:ext cx="3433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Formerly DuPont Sustainable Solutions</a:t>
            </a:r>
          </a:p>
        </p:txBody>
      </p:sp>
    </p:spTree>
    <p:extLst>
      <p:ext uri="{BB962C8B-B14F-4D97-AF65-F5344CB8AC3E}">
        <p14:creationId xmlns:p14="http://schemas.microsoft.com/office/powerpoint/2010/main" val="638730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03.10.2023</a:t>
            </a:r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Conseil d'administratio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18295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703D5740-6384-460C-BCDA-3BCACBFD98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22" r="24403" b="6561"/>
          <a:stretch/>
        </p:blipFill>
        <p:spPr>
          <a:xfrm>
            <a:off x="5760994" y="-1"/>
            <a:ext cx="6431006" cy="6858001"/>
          </a:xfrm>
          <a:prstGeom prst="rect">
            <a:avLst/>
          </a:prstGeom>
        </p:spPr>
      </p:pic>
      <p:pic>
        <p:nvPicPr>
          <p:cNvPr id="17" name="Picture 1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6635549-83F7-48F4-ABAC-72BBF1B4B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243" y="4180114"/>
            <a:ext cx="4113790" cy="1993874"/>
          </a:xfrm>
          <a:prstGeom prst="rect">
            <a:avLst/>
          </a:prstGeom>
        </p:spPr>
      </p:pic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67BAADA9-2279-47DC-9138-9E60E9E4C5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8700" y="2667000"/>
            <a:ext cx="4965648" cy="482184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rgbClr val="9D9FA2"/>
                </a:solidFill>
                <a:latin typeface="Century Gothic" panose="020B0502020202020204" pitchFamily="34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nter the date (e.g.1st January 2022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BCA164-D629-4593-936F-14CC50CCC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812800"/>
            <a:ext cx="4965700" cy="1674283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itle of your presentation</a:t>
            </a:r>
            <a:endParaRPr lang="en-SG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C124C1-8C20-45A3-9664-D80DAE0E1F40}"/>
              </a:ext>
            </a:extLst>
          </p:cNvPr>
          <p:cNvSpPr txBox="1"/>
          <p:nvPr userDrawn="1"/>
        </p:nvSpPr>
        <p:spPr>
          <a:xfrm>
            <a:off x="7853647" y="5023163"/>
            <a:ext cx="3433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Formerly DuPont Sustainable Solutions</a:t>
            </a:r>
          </a:p>
        </p:txBody>
      </p:sp>
    </p:spTree>
    <p:extLst>
      <p:ext uri="{BB962C8B-B14F-4D97-AF65-F5344CB8AC3E}">
        <p14:creationId xmlns:p14="http://schemas.microsoft.com/office/powerpoint/2010/main" val="2561028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67BAADA9-2279-47DC-9138-9E60E9E4C5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2243" y="3888734"/>
            <a:ext cx="4965648" cy="482184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Enter the date (e.g.1st January 2022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BCA164-D629-4593-936F-14CC50CCC8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2243" y="2068761"/>
            <a:ext cx="4965700" cy="1674283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dd title of your presentation</a:t>
            </a:r>
            <a:endParaRPr lang="en-GB" dirty="0"/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703D5740-6384-460C-BCDA-3BCACBFD98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39" r="24460" b="6544"/>
          <a:stretch/>
        </p:blipFill>
        <p:spPr>
          <a:xfrm>
            <a:off x="5765800" y="0"/>
            <a:ext cx="6426200" cy="6858000"/>
          </a:xfrm>
          <a:prstGeom prst="rect">
            <a:avLst/>
          </a:prstGeom>
        </p:spPr>
      </p:pic>
      <p:pic>
        <p:nvPicPr>
          <p:cNvPr id="16" name="Picture 1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59C766A-9FC8-C1FA-2C31-F85FEBA4F3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1370" y="4370918"/>
            <a:ext cx="4113790" cy="199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3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20BAF1E1-47C7-4A39-A1D7-E91C0266CD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76" r="42956" b="6463"/>
          <a:stretch/>
        </p:blipFill>
        <p:spPr>
          <a:xfrm rot="10800000">
            <a:off x="-3" y="0"/>
            <a:ext cx="4483237" cy="6880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BE715DB-B083-437B-8B4E-D2BC72789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3513434" cy="576293"/>
          </a:xfrm>
          <a:prstGeom prst="rect">
            <a:avLst/>
          </a:prstGeom>
        </p:spPr>
        <p:txBody>
          <a:bodyPr wrap="square" lIns="72000" tIns="72000" rIns="72000" bIns="72000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E466DD96-92E0-4235-86AD-FAF8F700F4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4480" y="1508470"/>
            <a:ext cx="7629990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A5BE7E48-D4AA-4313-8ADF-A931E78E15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93801" y="2396797"/>
            <a:ext cx="7748309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DA9F0071-A448-4D9B-9E61-1B288682DF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2883" y="3285124"/>
            <a:ext cx="7919216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627BD94-1E67-4058-BFEF-FCF89E6673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1916" y="4173451"/>
            <a:ext cx="8125173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62B60A3C-893E-44FB-9C96-2BFA1A4CC1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1094" y="5061778"/>
            <a:ext cx="8307766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3798562-94D0-4691-A386-0A4595B0D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585" y="6276975"/>
            <a:ext cx="1629429" cy="12883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5BE4534-50D2-4F2E-ACFC-349B570E9B5C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5D237B4-1966-D180-EB5D-7FEFDB9727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505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20BAF1E1-47C7-4A39-A1D7-E91C0266CD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602" r="42806" b="6442"/>
          <a:stretch/>
        </p:blipFill>
        <p:spPr>
          <a:xfrm rot="10800000">
            <a:off x="-2" y="0"/>
            <a:ext cx="45106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BE715DB-B083-437B-8B4E-D2BC72789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3513434" cy="576293"/>
          </a:xfrm>
          <a:prstGeom prst="rect">
            <a:avLst/>
          </a:prstGeom>
        </p:spPr>
        <p:txBody>
          <a:bodyPr wrap="square" lIns="72000" tIns="72000" rIns="72000" bIns="72000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E466DD96-92E0-4235-86AD-FAF8F700F4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4480" y="1508470"/>
            <a:ext cx="7541584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A5BE7E48-D4AA-4313-8ADF-A931E78E15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93802" y="2396797"/>
            <a:ext cx="7682261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DA9F0071-A448-4D9B-9E61-1B288682DF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2883" y="3285124"/>
            <a:ext cx="7873180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1627BD94-1E67-4058-BFEF-FCF89E6673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1916" y="4173451"/>
            <a:ext cx="8074147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62B60A3C-893E-44FB-9C96-2BFA1A4CC1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31094" y="5061778"/>
            <a:ext cx="8237736" cy="332892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805B10-E830-43F9-BF3F-5597521DFF8A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09CBAE34-0E1C-A49D-FD8B-8235EA1A68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182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 with low confidence">
            <a:extLst>
              <a:ext uri="{FF2B5EF4-FFF2-40B4-BE49-F238E27FC236}">
                <a16:creationId xmlns:a16="http://schemas.microsoft.com/office/drawing/2014/main" id="{35482A2C-1984-4B66-989B-DC3D320B7F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7" y="1"/>
            <a:ext cx="3912164" cy="6858000"/>
          </a:xfrm>
          <a:prstGeom prst="rect">
            <a:avLst/>
          </a:prstGeom>
        </p:spPr>
      </p:pic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8CABFE0-9D9B-41A1-9730-84D3E3FB8E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808163"/>
            <a:ext cx="11107738" cy="3721048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715DB-B083-437B-8B4E-D2BC72789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5847"/>
            <a:ext cx="11107738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E8551AE-EB1B-4EF9-8AD9-6623B7D90E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1383832"/>
            <a:ext cx="11107738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1BB7D9C-2061-4A12-B41C-B9DD30A78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2C211-374B-4A78-9F0A-5B37B4318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pic>
        <p:nvPicPr>
          <p:cNvPr id="3" name="Picture 2" descr="Migros Genève | Carouge">
            <a:extLst>
              <a:ext uri="{FF2B5EF4-FFF2-40B4-BE49-F238E27FC236}">
                <a16:creationId xmlns:a16="http://schemas.microsoft.com/office/drawing/2014/main" id="{6A366A9B-D991-940C-2A92-1CF18A4AD73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18" b="25514"/>
          <a:stretch/>
        </p:blipFill>
        <p:spPr bwMode="auto">
          <a:xfrm>
            <a:off x="320027" y="6262634"/>
            <a:ext cx="908895" cy="44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3455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 layout - White">
    <p:bg>
      <p:bgPr>
        <a:solidFill>
          <a:srgbClr val="FF6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 with low confidence">
            <a:extLst>
              <a:ext uri="{FF2B5EF4-FFF2-40B4-BE49-F238E27FC236}">
                <a16:creationId xmlns:a16="http://schemas.microsoft.com/office/drawing/2014/main" id="{35482A2C-1984-4B66-989B-DC3D320B7F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7" y="1"/>
            <a:ext cx="3912164" cy="6858000"/>
          </a:xfrm>
          <a:prstGeom prst="rect">
            <a:avLst/>
          </a:prstGeom>
        </p:spPr>
      </p:pic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A8CABFE0-9D9B-41A1-9730-84D3E3FB8E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808163"/>
            <a:ext cx="11107738" cy="3721048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715DB-B083-437B-8B4E-D2BC72789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5847"/>
            <a:ext cx="11107738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5E8551AE-EB1B-4EF9-8AD9-6623B7D90E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1383832"/>
            <a:ext cx="11107738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1BB7D9C-2061-4A12-B41C-B9DD30A78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92C211-374B-4A78-9F0A-5B37B4318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A359A0-BB12-4722-AC46-D6C07B2A51DA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/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0859B66-9904-09B5-FF69-BB16839B92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094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295BAE6D-7226-4F34-B461-A2FCC6B6EF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79" r="50348" b="6481"/>
          <a:stretch/>
        </p:blipFill>
        <p:spPr>
          <a:xfrm>
            <a:off x="8279837" y="-1"/>
            <a:ext cx="3912164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688030-C2E9-4821-A5AC-801F936FA1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7200"/>
            <a:ext cx="11125200" cy="576293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lick to add titl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B2516995-E002-4124-A1BD-853B84CC62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808163"/>
            <a:ext cx="5532964" cy="372104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US" sz="1400" baseline="0" dirty="0">
                <a:solidFill>
                  <a:srgbClr val="000000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Click here to add tex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3243168-2912-496E-90D7-CB0665351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3099" y="1808163"/>
            <a:ext cx="5532964" cy="3721048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US" sz="1400" baseline="0" dirty="0">
                <a:solidFill>
                  <a:srgbClr val="000000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Click here to add text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06CA1668-1F16-487E-AE9F-2469C9FC91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383832"/>
            <a:ext cx="5532964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16189651-16D4-4A83-9D41-475F08C0BD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3099" y="1383832"/>
            <a:ext cx="5532964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E0EE843B-D352-4118-A1AC-E82FF3FBA5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03AB916-A125-4EE5-BAFF-0A0DF9306C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9CD239-41B3-4880-B629-6224459FD87B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F5DB874-D996-40A4-74FE-E4712921A5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41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 with low confidence">
            <a:extLst>
              <a:ext uri="{FF2B5EF4-FFF2-40B4-BE49-F238E27FC236}">
                <a16:creationId xmlns:a16="http://schemas.microsoft.com/office/drawing/2014/main" id="{01ECF9B7-E3FD-4A59-B810-F119718B3A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7" y="1"/>
            <a:ext cx="3912164" cy="6858000"/>
          </a:xfrm>
          <a:prstGeom prst="rect">
            <a:avLst/>
          </a:prstGeom>
        </p:spPr>
      </p:pic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351103C1-4EAC-4DA4-9495-AC7096423FC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79" r="50348" b="6481"/>
          <a:stretch/>
        </p:blipFill>
        <p:spPr>
          <a:xfrm>
            <a:off x="8279837" y="-1"/>
            <a:ext cx="3912163" cy="68580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C4B9611-DF60-4BFD-8F74-B51F3C3717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5847"/>
            <a:ext cx="11107738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E624506A-6ED3-45D4-B5ED-786545E215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D39E3AC-09DD-4586-AB71-321A38BF34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81120D-C027-4B3E-8238-13A54973E8E6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0255CF-C84E-425F-A6B0-E666AB77A916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tx1"/>
                </a:solidFill>
              </a:rPr>
              <a:pPr lvl="0" algn="r"/>
              <a:t>‹N°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91BAC73-C3D4-A15B-2978-6AC269E3C8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067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1BD0CF76-FA58-42AA-948E-6244205705C0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A74D29-8886-461A-B605-71FF763FF5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2546350"/>
            <a:ext cx="5580062" cy="822515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title</a:t>
            </a:r>
          </a:p>
        </p:txBody>
      </p:sp>
      <p:pic>
        <p:nvPicPr>
          <p:cNvPr id="30" name="Picture 29" descr="Shape&#10;&#10;Description automatically generated with low confidence">
            <a:extLst>
              <a:ext uri="{FF2B5EF4-FFF2-40B4-BE49-F238E27FC236}">
                <a16:creationId xmlns:a16="http://schemas.microsoft.com/office/drawing/2014/main" id="{E5C373FD-55C6-4586-8D80-EB84BB629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7" y="1"/>
            <a:ext cx="3912164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44A93FB-9A69-46AD-8D5B-86C1DA0DE64A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FBAEBBC-EB99-BE5F-19D1-65CEF8D96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094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  <p15:guide id="2" orient="horz" pos="105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EF40908-4331-4CDC-8E8D-257095AA1E8E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5BC90FA3-B8D2-4DD9-87BB-5DE9DC42EB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6" y="1"/>
            <a:ext cx="39121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2D9778-BBFF-47AC-A3DB-DB9B42613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562013"/>
            <a:ext cx="5580062" cy="822515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637608-46C9-4F36-AC91-0D62665C4594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A89F09-9C7A-4CFF-9AD6-7B04CF6DB8BB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bg1"/>
                </a:solidFill>
              </a:rPr>
              <a:pPr lvl="0" algn="r"/>
              <a:t>‹N°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40F4A74-5600-F1A0-9633-9779E9278C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34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  <p15:guide id="2" orient="horz" pos="10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03.10.2023</a:t>
            </a:r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Conseil d'administratio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1061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EF40908-4331-4CDC-8E8D-257095AA1E8E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5BC90FA3-B8D2-4DD9-87BB-5DE9DC42EB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81" r="50348" b="6479"/>
          <a:stretch/>
        </p:blipFill>
        <p:spPr>
          <a:xfrm>
            <a:off x="8279836" y="1"/>
            <a:ext cx="391216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2D9778-BBFF-47AC-A3DB-DB9B42613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2562013"/>
            <a:ext cx="5580062" cy="822515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637608-46C9-4F36-AC91-0D62665C4594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A89F09-9C7A-4CFF-9AD6-7B04CF6DB8BB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bg1"/>
                </a:solidFill>
              </a:rPr>
              <a:pPr lvl="0" algn="r"/>
              <a:t>‹N°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40F4A74-5600-F1A0-9633-9779E9278C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83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  <p15:guide id="2" orient="horz" pos="105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37C6DEC-9E40-492F-B388-E9C06BC2BCEA}"/>
              </a:ext>
            </a:extLst>
          </p:cNvPr>
          <p:cNvSpPr/>
          <p:nvPr/>
        </p:nvSpPr>
        <p:spPr>
          <a:xfrm>
            <a:off x="1" y="1093"/>
            <a:ext cx="12191999" cy="68592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BC4DD41-6EFC-49B0-AA64-2FE2420C35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8" t="6448" r="50355" b="6512"/>
          <a:stretch/>
        </p:blipFill>
        <p:spPr>
          <a:xfrm>
            <a:off x="8403162" y="1"/>
            <a:ext cx="378883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B89AAFE-ABBD-45B3-9279-3E1977D79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7200"/>
            <a:ext cx="11171236" cy="576293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lick to add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F6435029-D977-4FCE-A156-34510B7984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1644790"/>
            <a:ext cx="5532964" cy="3930509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US" sz="1400" baseline="0" dirty="0">
                <a:solidFill>
                  <a:srgbClr val="000000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Click here to add tex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D4C5AF9B-0BB3-47AB-BBB1-AD5E0644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9135" y="1644790"/>
            <a:ext cx="5532964" cy="3930509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US" sz="1400" baseline="0" dirty="0">
                <a:solidFill>
                  <a:srgbClr val="000000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/>
              <a:t>Click here to add tex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E543BA3E-189A-4669-AE09-FE17C9FF56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6100" y="1193800"/>
            <a:ext cx="5532964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44732B03-40DC-4CF2-BA69-453A2B45E9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9135" y="1193800"/>
            <a:ext cx="5532964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C62E0ED2-84DD-4DCB-858B-85777C3CB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F9AA2B3-1AB9-4181-A861-BB93ADC62B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22CF795-822C-4F2A-A380-9ADAD91B027A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1BD5FD-69DC-4C14-A196-2957335DA1B0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EDC4611-6732-A77E-BFCB-5094922ED5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775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4" pos="32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D443F91-7986-4E66-9FA0-F908E90BE047}"/>
              </a:ext>
            </a:extLst>
          </p:cNvPr>
          <p:cNvSpPr/>
          <p:nvPr/>
        </p:nvSpPr>
        <p:spPr>
          <a:xfrm>
            <a:off x="1" y="-9418"/>
            <a:ext cx="12206604" cy="6867417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75D473D-40E6-777A-E399-6868F28306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85313" y="0"/>
            <a:ext cx="3906687" cy="6858000"/>
          </a:xfrm>
          <a:prstGeom prst="rect">
            <a:avLst/>
          </a:prstGeom>
        </p:spPr>
      </p:pic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C794946F-078B-45B3-B9D7-61FB8825C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644790"/>
            <a:ext cx="11171237" cy="3930509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90FB133-9B04-48BD-9FF8-298FB6BB28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55847"/>
            <a:ext cx="11171235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B7123AB8-2CDF-4030-8188-84B158AFD9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0" y="1193800"/>
            <a:ext cx="11171237" cy="349426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070716E6-4F1C-404B-9501-B5F5ADAA5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4EA97DC-B793-4CCF-B2C0-8DCE0B1AA1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60A100-5E14-4741-AAA8-F9AB555693EE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FFE5A-2C17-4937-AE63-FB7B2ACF7BA6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A63D8B4A-6E1C-0D67-D450-7AE0CF7F25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06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Pie/Bar/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9DF5C9C-8377-4B4B-86C6-7A157AF7182D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75D76FD-6269-4AA3-B329-68C41836B6E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50862" y="1194027"/>
            <a:ext cx="11171237" cy="4392612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70AC08-3FCB-4E61-A6B7-B1B25592CE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71238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hart titl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205705A-DD36-4235-AC0D-CB7A4D3F34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2ABA00B-357E-4038-A4B5-CE601D09FA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68B4E8-D634-4A9B-9E88-2537D67FC3C0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C042255-E439-B391-64F4-1DF880CDA4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4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  <p15:guide id="2" orient="horz" pos="418">
          <p15:clr>
            <a:srgbClr val="FBAE40"/>
          </p15:clr>
        </p15:guide>
        <p15:guide id="3" orient="horz" pos="80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7BF24C6-E734-438C-B340-BF19C192A442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7259A50D-9D72-43A3-B19F-DF4FCD398D4C}"/>
              </a:ext>
            </a:extLst>
          </p:cNvPr>
          <p:cNvSpPr>
            <a:spLocks noGrp="1"/>
          </p:cNvSpPr>
          <p:nvPr>
            <p:ph type="dgm" sz="quarter" idx="10"/>
          </p:nvPr>
        </p:nvSpPr>
        <p:spPr>
          <a:xfrm>
            <a:off x="546100" y="1194027"/>
            <a:ext cx="11175999" cy="439261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>
              <a:defRPr lang="en-SG" sz="1800" dirty="0"/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 dirty="0"/>
              <a:t>Click icon to add SmartArt graphic</a:t>
            </a:r>
            <a:endParaRPr lang="en-S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54F611-22EA-4FF8-BA14-1C347C00CD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75999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Flow chart tit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2E17F69B-D6C2-4995-96DE-59A6920D1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FB6F024-73DE-4E7E-ADA6-EF8F315513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74B7CF-87BF-44EC-8D66-009BDD6BB33F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2ECAFFB-6898-7FFD-70F5-86D01B660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244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orient="horz" pos="781">
          <p15:clr>
            <a:srgbClr val="FBAE40"/>
          </p15:clr>
        </p15:guide>
        <p15:guide id="3" pos="56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B069A18-FA0A-4805-8A54-C86642285E2B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0" name="Table Placeholder 8">
            <a:extLst>
              <a:ext uri="{FF2B5EF4-FFF2-40B4-BE49-F238E27FC236}">
                <a16:creationId xmlns:a16="http://schemas.microsoft.com/office/drawing/2014/main" id="{EE12A8A4-4A73-4719-AC83-49AF55AE4685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46099" y="1194027"/>
            <a:ext cx="11175999" cy="4392612"/>
          </a:xfrm>
          <a:prstGeom prst="rect">
            <a:avLst/>
          </a:prstGeom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1E9980-3706-472E-8A9B-8AABAADA5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098" y="457200"/>
            <a:ext cx="11175999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Table title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63DA6DC-15EA-4BD6-BD66-DE9C0200C3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6BA8A93-3C98-4B02-B38D-7CCC7250FE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74DC58-3BA0-4C27-94C6-2C57E5EA3E1E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C741DCA-7256-19A7-B264-FF42BFD2A3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8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  <p15:guide id="2" orient="horz" pos="418">
          <p15:clr>
            <a:srgbClr val="FBAE40"/>
          </p15:clr>
        </p15:guide>
        <p15:guide id="3" orient="horz" pos="103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E9980-3706-472E-8A9B-8AABAADA5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098" y="457200"/>
            <a:ext cx="11175999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White title only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63DA6DC-15EA-4BD6-BD66-DE9C0200C3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6BA8A93-3C98-4B02-B38D-7CCC7250FE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F7479D-497F-461D-81CC-C2658DF0A3E7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388C0FB-9A75-CE5C-60A6-88588CDD34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88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  <p15:guide id="2" orient="horz" pos="418">
          <p15:clr>
            <a:srgbClr val="FBAE40"/>
          </p15:clr>
        </p15:guide>
        <p15:guide id="3" orient="horz" pos="103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ullet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0CD6A74-DD65-4DE3-A2E0-32B6C4867770}"/>
              </a:ext>
            </a:extLst>
          </p:cNvPr>
          <p:cNvSpPr/>
          <p:nvPr/>
        </p:nvSpPr>
        <p:spPr>
          <a:xfrm>
            <a:off x="0" y="-9417"/>
            <a:ext cx="12186355" cy="68592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0F38C2-6768-4ED6-BE17-EB5C9B73A950}"/>
              </a:ext>
            </a:extLst>
          </p:cNvPr>
          <p:cNvSpPr/>
          <p:nvPr/>
        </p:nvSpPr>
        <p:spPr>
          <a:xfrm>
            <a:off x="550862" y="1501982"/>
            <a:ext cx="3643169" cy="4032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60CE7C-CB3E-4AFA-95C0-8E4D323FF911}"/>
              </a:ext>
            </a:extLst>
          </p:cNvPr>
          <p:cNvSpPr/>
          <p:nvPr/>
        </p:nvSpPr>
        <p:spPr>
          <a:xfrm>
            <a:off x="4302146" y="1501982"/>
            <a:ext cx="3655919" cy="4032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4803EC-DA18-4E90-9F0A-6168F1A8465B}"/>
              </a:ext>
            </a:extLst>
          </p:cNvPr>
          <p:cNvSpPr/>
          <p:nvPr/>
        </p:nvSpPr>
        <p:spPr>
          <a:xfrm>
            <a:off x="8066180" y="1501982"/>
            <a:ext cx="3655919" cy="4032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8CE791-3D51-4CA9-BCEA-D3BF9C6CF895}"/>
              </a:ext>
            </a:extLst>
          </p:cNvPr>
          <p:cNvSpPr/>
          <p:nvPr/>
        </p:nvSpPr>
        <p:spPr>
          <a:xfrm>
            <a:off x="550862" y="1498967"/>
            <a:ext cx="3643169" cy="121132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38DA5D-28CE-49AE-B930-7C1AA2D41F0A}"/>
              </a:ext>
            </a:extLst>
          </p:cNvPr>
          <p:cNvSpPr/>
          <p:nvPr/>
        </p:nvSpPr>
        <p:spPr>
          <a:xfrm>
            <a:off x="4302146" y="1498967"/>
            <a:ext cx="3655919" cy="121132"/>
          </a:xfrm>
          <a:prstGeom prst="rect">
            <a:avLst/>
          </a:prstGeom>
          <a:solidFill>
            <a:srgbClr val="9D9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7142D2C-6F77-4CB6-AEEB-6DF4CF36D001}"/>
              </a:ext>
            </a:extLst>
          </p:cNvPr>
          <p:cNvSpPr/>
          <p:nvPr/>
        </p:nvSpPr>
        <p:spPr>
          <a:xfrm>
            <a:off x="8066180" y="1498967"/>
            <a:ext cx="3655919" cy="121132"/>
          </a:xfrm>
          <a:prstGeom prst="rect">
            <a:avLst/>
          </a:prstGeom>
          <a:solidFill>
            <a:srgbClr val="746A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DCB453B-0DC5-41DD-95C9-479C4F5F48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4361" y="2464572"/>
            <a:ext cx="3516170" cy="2974204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7AC5DAF5-6D5F-46CF-B743-559FF1A4AF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2020" y="2464572"/>
            <a:ext cx="3516170" cy="2974204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373B3721-B356-4A1A-9555-DCC0D34476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36054" y="2464572"/>
            <a:ext cx="3516170" cy="2974204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63DB8732-AEA9-41ED-8DF6-7EE9A9BCB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361" y="1675058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0715AA23-C603-4B9C-ACD3-07BE8FF278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2020" y="1675058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6F2BDE31-864D-490E-AB7C-021888CB46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6054" y="1675058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4E487E-6B26-437B-88D4-1B6F9DD076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1" y="457200"/>
            <a:ext cx="11175998" cy="576293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lick to add title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AE0CA61B-5497-4382-8745-62679F331B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05D70A1-32CB-44B3-A159-93D181C701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2EE8CC1-FD74-4A5B-8756-E5B55CD89F81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FBEEBCB0-D65B-7980-806C-D980425263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399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ullet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7AD6292-05A3-4CF4-9C5A-8DA8FEB9B758}"/>
              </a:ext>
            </a:extLst>
          </p:cNvPr>
          <p:cNvSpPr/>
          <p:nvPr/>
        </p:nvSpPr>
        <p:spPr>
          <a:xfrm>
            <a:off x="1" y="-9417"/>
            <a:ext cx="12191999" cy="68592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FCFFED-F252-4DA9-B7B1-EBFBBB3E675E}"/>
              </a:ext>
            </a:extLst>
          </p:cNvPr>
          <p:cNvSpPr/>
          <p:nvPr/>
        </p:nvSpPr>
        <p:spPr>
          <a:xfrm>
            <a:off x="550862" y="1487328"/>
            <a:ext cx="3643169" cy="404669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BD244C-A433-4CEA-90C0-9D49A5354F9E}"/>
              </a:ext>
            </a:extLst>
          </p:cNvPr>
          <p:cNvSpPr/>
          <p:nvPr/>
        </p:nvSpPr>
        <p:spPr>
          <a:xfrm>
            <a:off x="4274415" y="1487328"/>
            <a:ext cx="3643169" cy="404669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2B6887E-E795-497A-8254-A787F6547BB5}"/>
              </a:ext>
            </a:extLst>
          </p:cNvPr>
          <p:cNvSpPr/>
          <p:nvPr/>
        </p:nvSpPr>
        <p:spPr>
          <a:xfrm>
            <a:off x="7997969" y="1487328"/>
            <a:ext cx="3643169" cy="404669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3E4984-8853-41B5-AB62-1E266FB8D485}"/>
              </a:ext>
            </a:extLst>
          </p:cNvPr>
          <p:cNvSpPr/>
          <p:nvPr/>
        </p:nvSpPr>
        <p:spPr>
          <a:xfrm>
            <a:off x="550862" y="1484313"/>
            <a:ext cx="3643169" cy="121132"/>
          </a:xfrm>
          <a:prstGeom prst="rect">
            <a:avLst/>
          </a:prstGeom>
          <a:solidFill>
            <a:srgbClr val="DC3B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33D1F2-A82B-4A5E-A1EB-8EFC28CF1EBE}"/>
              </a:ext>
            </a:extLst>
          </p:cNvPr>
          <p:cNvSpPr/>
          <p:nvPr/>
        </p:nvSpPr>
        <p:spPr>
          <a:xfrm>
            <a:off x="4274415" y="1484312"/>
            <a:ext cx="3643169" cy="121132"/>
          </a:xfrm>
          <a:prstGeom prst="rect">
            <a:avLst/>
          </a:prstGeom>
          <a:solidFill>
            <a:srgbClr val="DC3B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FF4A89-760B-4406-9D36-98778167369C}"/>
              </a:ext>
            </a:extLst>
          </p:cNvPr>
          <p:cNvSpPr/>
          <p:nvPr/>
        </p:nvSpPr>
        <p:spPr>
          <a:xfrm>
            <a:off x="7997969" y="1484312"/>
            <a:ext cx="3643169" cy="121132"/>
          </a:xfrm>
          <a:prstGeom prst="rect">
            <a:avLst/>
          </a:prstGeom>
          <a:solidFill>
            <a:srgbClr val="DC3B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1600" dirty="0">
              <a:latin typeface="+mn-lt"/>
            </a:endParaRP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D62900C1-9A35-4DF0-B17A-3243EAB0B4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4361" y="2464572"/>
            <a:ext cx="3516170" cy="2977219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rgbClr val="FFFFFF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39" name="Text Placeholder 27">
            <a:extLst>
              <a:ext uri="{FF2B5EF4-FFF2-40B4-BE49-F238E27FC236}">
                <a16:creationId xmlns:a16="http://schemas.microsoft.com/office/drawing/2014/main" id="{116B5EAB-1F52-4842-BC9B-6B1BE3390C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7914" y="2464572"/>
            <a:ext cx="3516170" cy="2977219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A4996187-5C23-4A94-9E9D-BEECA67D6D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1468" y="2464572"/>
            <a:ext cx="3516170" cy="2977219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spcBef>
                <a:spcPts val="0"/>
              </a:spcBef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Insert bullet point here</a:t>
            </a:r>
          </a:p>
        </p:txBody>
      </p:sp>
      <p:sp>
        <p:nvSpPr>
          <p:cNvPr id="42" name="Text Placeholder 27">
            <a:extLst>
              <a:ext uri="{FF2B5EF4-FFF2-40B4-BE49-F238E27FC236}">
                <a16:creationId xmlns:a16="http://schemas.microsoft.com/office/drawing/2014/main" id="{24DCBC4F-E952-4E77-9876-F8171F5BD6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4361" y="1660404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43" name="Text Placeholder 27">
            <a:extLst>
              <a:ext uri="{FF2B5EF4-FFF2-40B4-BE49-F238E27FC236}">
                <a16:creationId xmlns:a16="http://schemas.microsoft.com/office/drawing/2014/main" id="{8FFE5CD8-34EB-41FA-89A0-F94BD02849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37914" y="1660404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55466907-6BD0-48FF-AA75-F98BFE6C28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1468" y="1660404"/>
            <a:ext cx="351617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here two lines maximu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3EAF85-3165-4595-B750-FB188B989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1" y="457200"/>
            <a:ext cx="11095038" cy="576293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lick to add title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A4D92073-580E-4998-BEA3-53BE57A2B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BF4E60B0-60E4-4462-B3FD-37ACF4DFE5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78E7D1D-B743-43E1-AABA-63EEA2CD780D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179FDAE-2400-7CDE-7C9E-DAB2D51A6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065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Conten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7CBF3B48-FE5C-43C0-A2FB-71DCAF76DB92}"/>
              </a:ext>
            </a:extLst>
          </p:cNvPr>
          <p:cNvSpPr/>
          <p:nvPr/>
        </p:nvSpPr>
        <p:spPr>
          <a:xfrm>
            <a:off x="546100" y="5302424"/>
            <a:ext cx="11129963" cy="458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45E60C2-EC60-477C-94D3-33F8F823B36E}"/>
              </a:ext>
            </a:extLst>
          </p:cNvPr>
          <p:cNvSpPr/>
          <p:nvPr/>
        </p:nvSpPr>
        <p:spPr>
          <a:xfrm>
            <a:off x="546100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903D88-6815-41BD-BC23-824ACED22693}"/>
              </a:ext>
            </a:extLst>
          </p:cNvPr>
          <p:cNvSpPr/>
          <p:nvPr/>
        </p:nvSpPr>
        <p:spPr>
          <a:xfrm>
            <a:off x="546100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DCB453B-0DC5-41DD-95C9-479C4F5F48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140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63DB8732-AEA9-41ED-8DF6-7EE9A9BCB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25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2BCEAFA-3932-4502-8AF4-32CE25F764E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46100" y="1143000"/>
            <a:ext cx="3483372" cy="1692719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E0CD7921-4E4A-4117-B003-82DE243B8F1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369396" y="1143000"/>
            <a:ext cx="3509813" cy="1692719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14C31DF6-6095-4177-8B33-F2A04554C1C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66250" y="1143000"/>
            <a:ext cx="3509813" cy="1692719"/>
          </a:xfrm>
          <a:prstGeom prst="rect">
            <a:avLst/>
          </a:prstGeom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38072A6D-8AE8-434C-8D02-B3DB01748D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9638" y="5345576"/>
            <a:ext cx="11009401" cy="372621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A6038F5-A796-407D-A8A5-7ACA797913A4}"/>
              </a:ext>
            </a:extLst>
          </p:cNvPr>
          <p:cNvSpPr/>
          <p:nvPr/>
        </p:nvSpPr>
        <p:spPr>
          <a:xfrm>
            <a:off x="4369396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8C3805D-EBF5-4D5D-B1A2-D113D2D334F6}"/>
              </a:ext>
            </a:extLst>
          </p:cNvPr>
          <p:cNvSpPr/>
          <p:nvPr/>
        </p:nvSpPr>
        <p:spPr>
          <a:xfrm>
            <a:off x="4369396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703EC8A8-D2AB-4A3E-8EF2-CBC9AEA725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70921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45" name="Text Placeholder 27">
            <a:extLst>
              <a:ext uri="{FF2B5EF4-FFF2-40B4-BE49-F238E27FC236}">
                <a16:creationId xmlns:a16="http://schemas.microsoft.com/office/drawing/2014/main" id="{69D13CE0-2508-4D67-BCEB-7CED628552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0921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661B4A8-AB5E-4B9A-B1B2-F21EBCB8333A}"/>
              </a:ext>
            </a:extLst>
          </p:cNvPr>
          <p:cNvSpPr/>
          <p:nvPr/>
        </p:nvSpPr>
        <p:spPr>
          <a:xfrm>
            <a:off x="8166250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8E2339C-6F34-4F38-8EE4-DACA75BD2FAD}"/>
              </a:ext>
            </a:extLst>
          </p:cNvPr>
          <p:cNvSpPr/>
          <p:nvPr/>
        </p:nvSpPr>
        <p:spPr>
          <a:xfrm>
            <a:off x="8166250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8" name="Text Placeholder 27">
            <a:extLst>
              <a:ext uri="{FF2B5EF4-FFF2-40B4-BE49-F238E27FC236}">
                <a16:creationId xmlns:a16="http://schemas.microsoft.com/office/drawing/2014/main" id="{9526A82C-BF65-495C-97CE-4F42A0DCAC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67775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49" name="Text Placeholder 27">
            <a:extLst>
              <a:ext uri="{FF2B5EF4-FFF2-40B4-BE49-F238E27FC236}">
                <a16:creationId xmlns:a16="http://schemas.microsoft.com/office/drawing/2014/main" id="{8D88A1C3-C2B4-44B8-8CDF-B8ACF0F1EF2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67775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71DCC-835D-4C80-9D16-123AD5E640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29963" cy="576293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defRPr lang="en-GB" sz="2800" b="1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Click to add title</a:t>
            </a:r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A7BCD65F-9E72-4127-B9EA-2246AC09FE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49FB0C3-CFB4-4E1F-BE5C-49CA435B3A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09E02E8-E5A9-4F5C-AC8D-DE186236B58E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3BD557A7-932C-FF62-B69C-CE9C33DEE9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225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9312600" y="6115682"/>
            <a:ext cx="2543861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0074" y="6204943"/>
            <a:ext cx="1938534" cy="54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5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2852741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3249616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6" y="3644903"/>
            <a:ext cx="2768020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2275451"/>
            <a:ext cx="3793425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31843781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Conten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9535B-1A7A-4842-92B8-3359B53776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29963" cy="576293"/>
          </a:xfrm>
          <a:prstGeom prst="rect">
            <a:avLst/>
          </a:prstGeom>
        </p:spPr>
        <p:txBody>
          <a:bodyPr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3E212A-3CC9-433E-8414-B21F0A3A0649}"/>
              </a:ext>
            </a:extLst>
          </p:cNvPr>
          <p:cNvSpPr/>
          <p:nvPr userDrawn="1"/>
        </p:nvSpPr>
        <p:spPr>
          <a:xfrm>
            <a:off x="546100" y="5303348"/>
            <a:ext cx="11129963" cy="458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lnSpc>
                <a:spcPct val="100000"/>
              </a:lnSpc>
            </a:pPr>
            <a:endParaRPr lang="en-SG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C1D67F9-3BF4-437A-8DA1-FECDE576132B}"/>
              </a:ext>
            </a:extLst>
          </p:cNvPr>
          <p:cNvSpPr/>
          <p:nvPr userDrawn="1"/>
        </p:nvSpPr>
        <p:spPr>
          <a:xfrm>
            <a:off x="546100" y="3663981"/>
            <a:ext cx="5410200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7B391F-E0EE-442A-90F1-D17DDCA70BD1}"/>
              </a:ext>
            </a:extLst>
          </p:cNvPr>
          <p:cNvSpPr/>
          <p:nvPr userDrawn="1"/>
        </p:nvSpPr>
        <p:spPr>
          <a:xfrm>
            <a:off x="546100" y="2870531"/>
            <a:ext cx="5410200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8B6384D6-B3BB-4156-A8A6-7133B221EE3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46100" y="1143000"/>
            <a:ext cx="5369443" cy="1692719"/>
          </a:xfrm>
          <a:prstGeom prst="rect">
            <a:avLst/>
          </a:prstGeom>
        </p:spPr>
        <p:txBody>
          <a:bodyPr wrap="none" lIns="72000" tIns="72000" rIns="72000" bIns="7200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BBE1D82-95C8-4449-B986-19109ED42A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7" y="3797820"/>
            <a:ext cx="5097207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2" name="Text Placeholder 27">
            <a:extLst>
              <a:ext uri="{FF2B5EF4-FFF2-40B4-BE49-F238E27FC236}">
                <a16:creationId xmlns:a16="http://schemas.microsoft.com/office/drawing/2014/main" id="{A49477EE-2CA2-4C41-961A-A2064CA16E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597" y="2973420"/>
            <a:ext cx="5097207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F74C857-143C-44E8-953D-C0ED01155BFC}"/>
              </a:ext>
            </a:extLst>
          </p:cNvPr>
          <p:cNvSpPr/>
          <p:nvPr userDrawn="1"/>
        </p:nvSpPr>
        <p:spPr>
          <a:xfrm>
            <a:off x="6265863" y="3663981"/>
            <a:ext cx="5410200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5EA0E73-A4E0-4DF8-82D4-BD449D6BB011}"/>
              </a:ext>
            </a:extLst>
          </p:cNvPr>
          <p:cNvSpPr/>
          <p:nvPr userDrawn="1"/>
        </p:nvSpPr>
        <p:spPr>
          <a:xfrm>
            <a:off x="6265863" y="2870531"/>
            <a:ext cx="5410200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0971EE4C-256F-429A-AC39-0BA7FD8127C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265863" y="1143000"/>
            <a:ext cx="5410200" cy="1692719"/>
          </a:xfrm>
          <a:prstGeom prst="rect">
            <a:avLst/>
          </a:prstGeom>
        </p:spPr>
        <p:txBody>
          <a:bodyPr wrap="none" lIns="72000" tIns="72000" rIns="72000" bIns="7200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77A6AE49-B8D2-4A82-860B-CF9CD7E6C54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22360" y="3797820"/>
            <a:ext cx="5097207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20473895-911E-44FE-977C-19C1DF3862A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22360" y="2973420"/>
            <a:ext cx="5097207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7180D50F-A7C6-40EF-AFFB-461ACAB2483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81" y="5346500"/>
            <a:ext cx="11009401" cy="372621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AE6984EB-6A7F-4E64-B78C-947065DB6B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D6AEB71-6E43-432D-89AD-44B1C57D83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CE474F7-CB88-42F7-85C7-5A784B34592D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EAEEAA3-23CC-14B4-7959-93DEB1E837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889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Conten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01275-7C21-434D-ABEB-60BA13DB1E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29963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ED2ABF-1D21-4005-916C-4EA41A377DC3}"/>
              </a:ext>
            </a:extLst>
          </p:cNvPr>
          <p:cNvSpPr/>
          <p:nvPr userDrawn="1"/>
        </p:nvSpPr>
        <p:spPr>
          <a:xfrm>
            <a:off x="546100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C4D7A22-7D67-4AE3-B619-081641D5C6CB}"/>
              </a:ext>
            </a:extLst>
          </p:cNvPr>
          <p:cNvSpPr/>
          <p:nvPr userDrawn="1"/>
        </p:nvSpPr>
        <p:spPr>
          <a:xfrm>
            <a:off x="546100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E0439DF1-89BC-45F1-B53B-7C0EDBCA95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140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3927E22F-5846-45B6-9C55-14DB62539F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25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C9B8863-BBA5-4557-B06F-EE936DEC0519}"/>
              </a:ext>
            </a:extLst>
          </p:cNvPr>
          <p:cNvSpPr/>
          <p:nvPr userDrawn="1"/>
        </p:nvSpPr>
        <p:spPr>
          <a:xfrm>
            <a:off x="4369396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2E54597-67B0-4C09-ACC3-54DDDE372F93}"/>
              </a:ext>
            </a:extLst>
          </p:cNvPr>
          <p:cNvSpPr/>
          <p:nvPr userDrawn="1"/>
        </p:nvSpPr>
        <p:spPr>
          <a:xfrm>
            <a:off x="4369396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6" name="Text Placeholder 27">
            <a:extLst>
              <a:ext uri="{FF2B5EF4-FFF2-40B4-BE49-F238E27FC236}">
                <a16:creationId xmlns:a16="http://schemas.microsoft.com/office/drawing/2014/main" id="{4E149E63-5433-44B2-A0C0-C306FEC011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70921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7" name="Text Placeholder 27">
            <a:extLst>
              <a:ext uri="{FF2B5EF4-FFF2-40B4-BE49-F238E27FC236}">
                <a16:creationId xmlns:a16="http://schemas.microsoft.com/office/drawing/2014/main" id="{B75D3810-B7BD-4091-A4A5-5E135DFA7C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70921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7653DB3-A068-4320-AD85-C2DE75FE3AEF}"/>
              </a:ext>
            </a:extLst>
          </p:cNvPr>
          <p:cNvSpPr/>
          <p:nvPr userDrawn="1"/>
        </p:nvSpPr>
        <p:spPr>
          <a:xfrm>
            <a:off x="8166250" y="3663057"/>
            <a:ext cx="3509813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20B867D-3922-42C2-842F-3AFD64809B2B}"/>
              </a:ext>
            </a:extLst>
          </p:cNvPr>
          <p:cNvSpPr/>
          <p:nvPr userDrawn="1"/>
        </p:nvSpPr>
        <p:spPr>
          <a:xfrm>
            <a:off x="8166250" y="2869607"/>
            <a:ext cx="3509813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40" name="Text Placeholder 27">
            <a:extLst>
              <a:ext uri="{FF2B5EF4-FFF2-40B4-BE49-F238E27FC236}">
                <a16:creationId xmlns:a16="http://schemas.microsoft.com/office/drawing/2014/main" id="{C5136B6C-DAAD-4F71-8F92-FBB4EB6926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67775" y="3796896"/>
            <a:ext cx="3306762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50" name="Text Placeholder 27">
            <a:extLst>
              <a:ext uri="{FF2B5EF4-FFF2-40B4-BE49-F238E27FC236}">
                <a16:creationId xmlns:a16="http://schemas.microsoft.com/office/drawing/2014/main" id="{BB88E8C7-B414-4E4F-A06D-49AB4B03A26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67775" y="2972496"/>
            <a:ext cx="3306762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F97DF8-0F45-4388-83F3-AF17DD447DA6}"/>
              </a:ext>
            </a:extLst>
          </p:cNvPr>
          <p:cNvSpPr/>
          <p:nvPr userDrawn="1"/>
        </p:nvSpPr>
        <p:spPr>
          <a:xfrm>
            <a:off x="546100" y="5303348"/>
            <a:ext cx="11129963" cy="458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lnSpc>
                <a:spcPct val="100000"/>
              </a:lnSpc>
            </a:pPr>
            <a:endParaRPr lang="en-SG" sz="1600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6CD3B582-72B1-4178-B905-C109E4C293A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81" y="5346500"/>
            <a:ext cx="11009401" cy="372621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41" name="Chart Placeholder 2">
            <a:extLst>
              <a:ext uri="{FF2B5EF4-FFF2-40B4-BE49-F238E27FC236}">
                <a16:creationId xmlns:a16="http://schemas.microsoft.com/office/drawing/2014/main" id="{8C112038-B852-41A2-AC5B-6967CCEF5DAC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546100" y="1137920"/>
            <a:ext cx="3509813" cy="171026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43" name="Chart Placeholder 2">
            <a:extLst>
              <a:ext uri="{FF2B5EF4-FFF2-40B4-BE49-F238E27FC236}">
                <a16:creationId xmlns:a16="http://schemas.microsoft.com/office/drawing/2014/main" id="{2CA45E82-AE54-4A70-978B-37C391521A48}"/>
              </a:ext>
            </a:extLst>
          </p:cNvPr>
          <p:cNvSpPr>
            <a:spLocks noGrp="1"/>
          </p:cNvSpPr>
          <p:nvPr>
            <p:ph type="chart" sz="quarter" idx="38"/>
          </p:nvPr>
        </p:nvSpPr>
        <p:spPr>
          <a:xfrm>
            <a:off x="4368800" y="1137920"/>
            <a:ext cx="3509813" cy="171026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44" name="Chart Placeholder 2">
            <a:extLst>
              <a:ext uri="{FF2B5EF4-FFF2-40B4-BE49-F238E27FC236}">
                <a16:creationId xmlns:a16="http://schemas.microsoft.com/office/drawing/2014/main" id="{15EDB54E-A74F-44B6-8D65-5960449A66B0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8166250" y="1137920"/>
            <a:ext cx="3509813" cy="171026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DF45FBBE-345D-480B-8609-51F3A1A649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011491-19AE-46DA-A8F9-78D291EC5F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1671B43-A4F9-486A-9C22-8FA06B43185E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5EF8186E-14E3-42A8-EEE1-F05097D858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643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Conten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>
            <a:extLst>
              <a:ext uri="{FF2B5EF4-FFF2-40B4-BE49-F238E27FC236}">
                <a16:creationId xmlns:a16="http://schemas.microsoft.com/office/drawing/2014/main" id="{09E4610F-5460-49F5-A117-74F533893B5C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546100" y="1143001"/>
            <a:ext cx="5410200" cy="168526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19" name="Chart Placeholder 2">
            <a:extLst>
              <a:ext uri="{FF2B5EF4-FFF2-40B4-BE49-F238E27FC236}">
                <a16:creationId xmlns:a16="http://schemas.microsoft.com/office/drawing/2014/main" id="{425541DD-AD8B-465D-9F94-19AE96DC4CCA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6265863" y="1143000"/>
            <a:ext cx="5410200" cy="168526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FontTx/>
              <a:buNone/>
              <a:defRPr sz="1600">
                <a:latin typeface="+mn-lt"/>
              </a:defRPr>
            </a:lvl1pPr>
          </a:lstStyle>
          <a:p>
            <a:r>
              <a:rPr lang="en-US" dirty="0"/>
              <a:t>Click icon to add chart</a:t>
            </a:r>
            <a:endParaRPr lang="en-S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B5E1D6-5C79-41CF-9EBE-8372B08D3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11129963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1F4C916-4921-46EB-8ECD-93373A52EBCA}"/>
              </a:ext>
            </a:extLst>
          </p:cNvPr>
          <p:cNvSpPr/>
          <p:nvPr userDrawn="1"/>
        </p:nvSpPr>
        <p:spPr>
          <a:xfrm>
            <a:off x="546100" y="5303348"/>
            <a:ext cx="11129963" cy="458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lnSpc>
                <a:spcPct val="100000"/>
              </a:lnSpc>
            </a:pPr>
            <a:endParaRPr lang="en-SG" sz="1600" dirty="0"/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623F38B5-85A2-4FEB-8783-D76BE8CDCE0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597" y="5336996"/>
            <a:ext cx="10786807" cy="391628"/>
          </a:xfrm>
          <a:prstGeom prst="rect">
            <a:avLst/>
          </a:prstGeom>
        </p:spPr>
        <p:txBody>
          <a:bodyPr wrap="square" lIns="72000" tIns="72000" rIns="72000" bIns="7200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38DC721-EBA2-40EB-9966-DE8B5B3EA56C}"/>
              </a:ext>
            </a:extLst>
          </p:cNvPr>
          <p:cNvSpPr/>
          <p:nvPr userDrawn="1"/>
        </p:nvSpPr>
        <p:spPr>
          <a:xfrm>
            <a:off x="546100" y="3663981"/>
            <a:ext cx="5410200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646633-5722-4FF5-9A97-670E14306362}"/>
              </a:ext>
            </a:extLst>
          </p:cNvPr>
          <p:cNvSpPr/>
          <p:nvPr userDrawn="1"/>
        </p:nvSpPr>
        <p:spPr>
          <a:xfrm>
            <a:off x="546100" y="2870531"/>
            <a:ext cx="5410200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138F173F-39E0-4311-B8BE-541F1FE153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7" y="3797820"/>
            <a:ext cx="5097207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DD263191-7252-45E5-90EC-E4156DE3B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597" y="2973420"/>
            <a:ext cx="5097207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15576F3-210E-4C52-B69F-B75A6FE90919}"/>
              </a:ext>
            </a:extLst>
          </p:cNvPr>
          <p:cNvSpPr/>
          <p:nvPr userDrawn="1"/>
        </p:nvSpPr>
        <p:spPr>
          <a:xfrm>
            <a:off x="6265863" y="3663981"/>
            <a:ext cx="5410200" cy="1534059"/>
          </a:xfrm>
          <a:prstGeom prst="rect">
            <a:avLst/>
          </a:prstGeom>
          <a:solidFill>
            <a:srgbClr val="191A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3EBE593-1A91-420D-94C7-49C82C35BBA3}"/>
              </a:ext>
            </a:extLst>
          </p:cNvPr>
          <p:cNvSpPr/>
          <p:nvPr userDrawn="1"/>
        </p:nvSpPr>
        <p:spPr>
          <a:xfrm>
            <a:off x="6265863" y="2870531"/>
            <a:ext cx="5410200" cy="7934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SG" sz="1600" dirty="0">
              <a:latin typeface="+mn-lt"/>
            </a:endParaRP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7FF9925C-E998-49BC-8F5F-ACCD0BCA1C6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22360" y="3797820"/>
            <a:ext cx="5097207" cy="1266380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Content here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DC4D52E2-2D9C-4874-8B7F-921B53C4440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22360" y="2973420"/>
            <a:ext cx="5097207" cy="587673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29F023AD-D6C7-437D-A33F-6BDB500F51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4100" y="5997575"/>
            <a:ext cx="61341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DD616AB-D018-4198-9806-563E0B91A6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4100" y="6271739"/>
            <a:ext cx="6134100" cy="138499"/>
          </a:xfrm>
        </p:spPr>
        <p:txBody>
          <a:bodyPr wrap="square" lIns="0" tIns="0" rIns="0" bIns="0">
            <a:sp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C04987-5B9F-4FE5-B4A5-C1C0B3DA8984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6606865-B1E0-D031-BAAB-D0EBCE40F3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622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Text Lef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08702C57-B030-4A60-BDA2-9A848452D3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1" y="-8468"/>
            <a:ext cx="6096000" cy="686646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B40A78-94BD-4EF8-A681-54BC90D2100A}"/>
              </a:ext>
            </a:extLst>
          </p:cNvPr>
          <p:cNvSpPr/>
          <p:nvPr/>
        </p:nvSpPr>
        <p:spPr>
          <a:xfrm>
            <a:off x="1" y="-9417"/>
            <a:ext cx="6095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lvl="0" algn="ctr"/>
            <a:endParaRPr lang="en-US" sz="2400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2FAB191E-67E0-40F3-B1A9-5E183CECD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1498827"/>
            <a:ext cx="546100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E06598A6-BB7E-462C-BC22-8DF3B68F79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6100" y="2097088"/>
            <a:ext cx="5461000" cy="3630612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F194CE-02FE-47E3-9B07-7AB37D924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5461000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A684909-489D-4C78-8296-9A400DB3718E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98AC588-8164-99E6-201D-5DBBE186C1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772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2">
          <p15:clr>
            <a:srgbClr val="FBAE40"/>
          </p15:clr>
        </p15:guide>
        <p15:guide id="2" orient="horz" pos="441">
          <p15:clr>
            <a:srgbClr val="FBAE40"/>
          </p15:clr>
        </p15:guide>
        <p15:guide id="3" orient="horz" pos="1321">
          <p15:clr>
            <a:srgbClr val="FBAE40"/>
          </p15:clr>
        </p15:guide>
        <p15:guide id="4" orient="horz" pos="143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Text Righ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5A40201-1725-42EA-AAC1-E69B65650636}"/>
              </a:ext>
            </a:extLst>
          </p:cNvPr>
          <p:cNvSpPr/>
          <p:nvPr/>
        </p:nvSpPr>
        <p:spPr>
          <a:xfrm>
            <a:off x="6096000" y="-9417"/>
            <a:ext cx="6095999" cy="685800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endParaRPr lang="en-US" sz="2400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D6674B2A-28B5-419A-828C-BB48848E23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8467"/>
            <a:ext cx="6096000" cy="68664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ED699F-688C-4C7B-9E1C-3B19031AF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299" y="457200"/>
            <a:ext cx="5465765" cy="576293"/>
          </a:xfrm>
          <a:prstGeom prst="rect">
            <a:avLst/>
          </a:prstGeom>
        </p:spPr>
        <p:txBody>
          <a:bodyPr wrap="square" lIns="72000" tIns="72000" rIns="72000" bIns="72000" anchor="t" anchorCtr="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BE10E31-2D8C-4DC3-84B1-972BAD11A6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0299" y="1498827"/>
            <a:ext cx="5465765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45BB099-34E8-42A7-8744-574A073E82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299" y="2097088"/>
            <a:ext cx="5465765" cy="3630612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C6265A-571A-4D47-B3D2-A6CF100D71A8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780B446-F1C7-EDC2-3D17-335B3EC958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4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orient="horz" pos="1321">
          <p15:clr>
            <a:srgbClr val="FBAE40"/>
          </p15:clr>
        </p15:guide>
        <p15:guide id="3" orient="horz" pos="1439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Text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08702C57-B030-4A60-BDA2-9A848452D3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20059" y="-8467"/>
            <a:ext cx="6071942" cy="68664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F0763D27-8726-4C78-8C19-33FD01A6E7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100" y="1498827"/>
            <a:ext cx="5461000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E636A2CA-CE72-4A9D-AF8A-4F2E331DAD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6100" y="2097088"/>
            <a:ext cx="5461000" cy="3630612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AA2508-C807-470F-B1D8-99E80567B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5461000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B28E62-0894-4B39-A7DA-9A08D5C5BAC6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08CF1B8-55A4-65F2-8381-A7737F96DC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04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2">
          <p15:clr>
            <a:srgbClr val="FBAE40"/>
          </p15:clr>
        </p15:guide>
        <p15:guide id="2" orient="horz" pos="1302">
          <p15:clr>
            <a:srgbClr val="FBAE40"/>
          </p15:clr>
        </p15:guide>
        <p15:guide id="3" orient="horz" pos="1439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Text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D6674B2A-28B5-419A-828C-BB48848E23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8468"/>
            <a:ext cx="6096000" cy="686646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FD9490-ACA0-4878-871E-FB29B0FDB3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0299" y="457200"/>
            <a:ext cx="5465765" cy="558800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C1F68CA-F134-434E-9973-F0565D53E8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0299" y="1498827"/>
            <a:ext cx="5465765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F4A1C741-18C6-4BC7-BD6F-C39FE22D77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0299" y="2097088"/>
            <a:ext cx="5465765" cy="3630612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rgbClr val="000000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FEB59E-C65D-4D01-BCFB-59F2B2BF0481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D657DB3-9C3F-84B7-0EDE-9187005068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299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02">
          <p15:clr>
            <a:srgbClr val="FBAE40"/>
          </p15:clr>
        </p15:guide>
        <p15:guide id="2" orient="horz" pos="1439">
          <p15:clr>
            <a:srgbClr val="FBAE40"/>
          </p15:clr>
        </p15:guide>
        <p15:guide id="3" orient="horz" pos="441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Text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2431BA2-A924-489D-860E-01165722D0E5}"/>
              </a:ext>
            </a:extLst>
          </p:cNvPr>
          <p:cNvSpPr/>
          <p:nvPr/>
        </p:nvSpPr>
        <p:spPr>
          <a:xfrm>
            <a:off x="0" y="-9417"/>
            <a:ext cx="6111967" cy="686741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08702C57-B030-4A60-BDA2-9A848452D3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11967" y="-8467"/>
            <a:ext cx="6080033" cy="68664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155AE80-A145-4B3A-B484-C31E95B92B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57200"/>
            <a:ext cx="5465765" cy="558800"/>
          </a:xfrm>
          <a:prstGeom prst="rect">
            <a:avLst/>
          </a:prstGeom>
        </p:spPr>
        <p:txBody>
          <a:bodyPr lIns="72000" tIns="72000" rIns="72000" bIns="72000"/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F56D8E2B-66AC-4787-9410-4DA827F06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98827"/>
            <a:ext cx="5465765" cy="422405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82F0312-CC50-424D-8149-6CB739834A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2097088"/>
            <a:ext cx="5465765" cy="391628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9CCB78-879A-495C-ABEB-21DDEE806502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EA3867F-AA01-CC0B-7306-7C262D5E55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11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Right Text Lef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2431BA2-A924-489D-860E-01165722D0E5}"/>
              </a:ext>
            </a:extLst>
          </p:cNvPr>
          <p:cNvSpPr/>
          <p:nvPr/>
        </p:nvSpPr>
        <p:spPr>
          <a:xfrm>
            <a:off x="0" y="-9417"/>
            <a:ext cx="6111967" cy="686741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08702C57-B030-4A60-BDA2-9A848452D3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8800" y="1181100"/>
            <a:ext cx="5448300" cy="55245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73A468E2-7A17-431F-81CF-A6FFB810F8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70625" y="457200"/>
            <a:ext cx="5340350" cy="34995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D646D7A6-ECD7-41C5-96F1-ECDD0ED6D4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70625" y="911226"/>
            <a:ext cx="5340350" cy="460374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2465B6-7E68-4014-B7C6-E88D47892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57200"/>
            <a:ext cx="5435600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BBEEB75A-2CD0-49BF-B14B-44E7153E9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0625" y="1484313"/>
            <a:ext cx="5340350" cy="34995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DC5B29AA-80DC-45BD-91B6-150130CCA0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0625" y="1938339"/>
            <a:ext cx="5340350" cy="460374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 i="0" baseline="0">
                <a:solidFill>
                  <a:schemeClr val="tx2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32FCDB8-E116-4B95-A9EF-73FF18798CB3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0B8B11C7-9F86-2936-2F96-1E5B701EDC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911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Right Text Lef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2431BA2-A924-489D-860E-01165722D0E5}"/>
              </a:ext>
            </a:extLst>
          </p:cNvPr>
          <p:cNvSpPr/>
          <p:nvPr/>
        </p:nvSpPr>
        <p:spPr>
          <a:xfrm>
            <a:off x="0" y="-9417"/>
            <a:ext cx="3563937" cy="686741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32FCDB8-E116-4B95-A9EF-73FF18798CB3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0B8B11C7-9F86-2936-2F96-1E5B701EDC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377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Coopérative Migros Genève  |  Conseil d'administration 2 décembre 2021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2241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Text Righ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5FD4F2E-C6FF-4450-A946-D0978E16BD6D}"/>
              </a:ext>
            </a:extLst>
          </p:cNvPr>
          <p:cNvSpPr/>
          <p:nvPr/>
        </p:nvSpPr>
        <p:spPr>
          <a:xfrm>
            <a:off x="6096000" y="-9417"/>
            <a:ext cx="6096001" cy="6867417"/>
          </a:xfrm>
          <a:prstGeom prst="rect">
            <a:avLst/>
          </a:prstGeom>
          <a:solidFill>
            <a:srgbClr val="181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D6674B2A-28B5-419A-828C-BB48848E23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8467"/>
            <a:ext cx="6095935" cy="68664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SG" dirty="0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EBC25FCE-14D3-4F26-84E2-B03438E2D0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5635" y="1484313"/>
            <a:ext cx="5405437" cy="34995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subtit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CFE512D6-8F20-47B2-A3EC-FD301EF0EF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5700" y="2060575"/>
            <a:ext cx="5405437" cy="370755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9981E8-2A3C-4C34-A6BC-EA0FF6BA1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457200"/>
            <a:ext cx="5405437" cy="576293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C5E3A91-7607-4E5D-B568-86C4761A9A34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D4645C-DB67-456C-A498-D49399421B7D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bg1"/>
                </a:solidFill>
              </a:rPr>
              <a:pPr lvl="0" algn="r"/>
              <a:t>‹N°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445EA14-06B0-85C4-8A70-7727B0EB98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48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  <p15:guide id="2" orient="horz" pos="1298">
          <p15:clr>
            <a:srgbClr val="FBAE40"/>
          </p15:clr>
        </p15:guide>
        <p15:guide id="3" orient="horz" pos="1439">
          <p15:clr>
            <a:srgbClr val="FBAE40"/>
          </p15:clr>
        </p15:guide>
        <p15:guide id="4" orient="horz" pos="44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C1788A5-5560-4E8B-8E46-48BD1A3AA28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C59AD3-9245-4E98-B62D-A42EAF23439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A3243168-2912-496E-90D7-CB0665351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546" y="4196346"/>
            <a:ext cx="5394895" cy="1812568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688030-C2E9-4821-A5AC-801F936FA1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100" y="441325"/>
            <a:ext cx="5392737" cy="514738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defRPr lang="en-GB" sz="24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dirty="0"/>
              <a:t>Pros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B2516995-E002-4124-A1BD-853B84CC62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160463"/>
            <a:ext cx="5387974" cy="1976437"/>
          </a:xfrm>
          <a:prstGeom prst="rect">
            <a:avLst/>
          </a:prstGeom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Click here to add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21DBF04-AA29-44E9-B0C1-C04245013B82}"/>
              </a:ext>
            </a:extLst>
          </p:cNvPr>
          <p:cNvSpPr txBox="1">
            <a:spLocks/>
          </p:cNvSpPr>
          <p:nvPr userDrawn="1"/>
        </p:nvSpPr>
        <p:spPr>
          <a:xfrm>
            <a:off x="6262780" y="3678935"/>
            <a:ext cx="5413283" cy="514738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 lvl="0" defTabSz="914377">
              <a:lnSpc>
                <a:spcPct val="100000"/>
              </a:lnSpc>
              <a:spcBef>
                <a:spcPct val="0"/>
              </a:spcBef>
              <a:buNone/>
              <a:defRPr sz="3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400" dirty="0"/>
              <a:t>Cons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48904B2D-7817-4C4D-96FF-477682B514B4}"/>
              </a:ext>
            </a:extLst>
          </p:cNvPr>
          <p:cNvSpPr/>
          <p:nvPr userDrawn="1"/>
        </p:nvSpPr>
        <p:spPr>
          <a:xfrm>
            <a:off x="6324600" y="0"/>
            <a:ext cx="1924721" cy="3721100"/>
          </a:xfrm>
          <a:prstGeom prst="downArrow">
            <a:avLst>
              <a:gd name="adj1" fmla="val 23377"/>
              <a:gd name="adj2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9A96949E-CC75-4EE8-B53C-1F5C36D88ADF}"/>
              </a:ext>
            </a:extLst>
          </p:cNvPr>
          <p:cNvSpPr/>
          <p:nvPr userDrawn="1"/>
        </p:nvSpPr>
        <p:spPr>
          <a:xfrm flipV="1">
            <a:off x="3945733" y="3136900"/>
            <a:ext cx="1924721" cy="3721100"/>
          </a:xfrm>
          <a:prstGeom prst="downArrow">
            <a:avLst>
              <a:gd name="adj1" fmla="val 23377"/>
              <a:gd name="adj2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AF502D-185A-450D-97F8-EF7BA82DB327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9B943B-EBCE-4247-AFB0-DF9441E501D5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bg1"/>
                </a:solidFill>
              </a:rPr>
              <a:pPr lvl="0" algn="r"/>
              <a:t>‹N°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40161C36-F5D2-34A1-2177-8738851FC9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32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41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Resume -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FA61171-E548-4FD8-91E0-69BC4217F63F}"/>
              </a:ext>
            </a:extLst>
          </p:cNvPr>
          <p:cNvSpPr/>
          <p:nvPr userDrawn="1"/>
        </p:nvSpPr>
        <p:spPr>
          <a:xfrm>
            <a:off x="2621681" y="452193"/>
            <a:ext cx="3114000" cy="2407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2398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47615E-7525-4984-94A9-9A07BDB1FE4B}"/>
              </a:ext>
            </a:extLst>
          </p:cNvPr>
          <p:cNvSpPr/>
          <p:nvPr userDrawn="1"/>
        </p:nvSpPr>
        <p:spPr>
          <a:xfrm>
            <a:off x="5783017" y="452193"/>
            <a:ext cx="5745906" cy="24075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0000"/>
              </a:lnSpc>
            </a:pPr>
            <a:endParaRPr lang="en-US" sz="2398" dirty="0"/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DA8E4C24-0845-4B3C-A55E-91D4535F86CE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704935" y="856621"/>
            <a:ext cx="289412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2563" indent="-182563" algn="l">
              <a:lnSpc>
                <a:spcPct val="100000"/>
              </a:lnSpc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1pPr>
            <a:lvl2pPr marL="331787" indent="0" algn="l">
              <a:lnSpc>
                <a:spcPct val="100000"/>
              </a:lnSpc>
              <a:buFontTx/>
              <a:buNone/>
              <a:defRPr sz="1000">
                <a:solidFill>
                  <a:schemeClr val="bg1"/>
                </a:solidFill>
              </a:defRPr>
            </a:lvl2pPr>
            <a:lvl3pPr algn="l">
              <a:defRPr sz="1400">
                <a:solidFill>
                  <a:schemeClr val="bg1"/>
                </a:solidFill>
              </a:defRPr>
            </a:lvl3pPr>
            <a:lvl4pPr algn="l">
              <a:defRPr sz="1400">
                <a:solidFill>
                  <a:schemeClr val="bg1"/>
                </a:solidFill>
              </a:defRPr>
            </a:lvl4pPr>
            <a:lvl5pPr algn="l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1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9749FF3-9948-4DAF-A16E-68A7C18057D7}"/>
              </a:ext>
            </a:extLst>
          </p:cNvPr>
          <p:cNvSpPr/>
          <p:nvPr userDrawn="1"/>
        </p:nvSpPr>
        <p:spPr>
          <a:xfrm>
            <a:off x="2704936" y="538718"/>
            <a:ext cx="289412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US" sz="1600" b="1" dirty="0"/>
              <a:t>CREDENTIALS: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B0D9AE0-2065-4AAB-A49D-84B6AC380E47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2704935" y="3249321"/>
            <a:ext cx="289412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25000"/>
              <a:defRPr sz="1000">
                <a:solidFill>
                  <a:schemeClr val="tx2"/>
                </a:solidFill>
              </a:defRPr>
            </a:lvl1pPr>
            <a:lvl5pPr marL="13716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9AD65E94-3E86-48F2-99D5-89C1FF6717E1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894355" y="3249321"/>
            <a:ext cx="552323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25000"/>
              <a:defRPr sz="1000">
                <a:solidFill>
                  <a:schemeClr val="tx2"/>
                </a:solidFill>
              </a:defRPr>
            </a:lvl1pPr>
            <a:lvl5pPr marL="13716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72127AE-C68F-4630-9633-ACC25A5F519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5427" y="2940943"/>
            <a:ext cx="20592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Role </a:t>
            </a:r>
            <a:br>
              <a:rPr lang="en-US" dirty="0"/>
            </a:br>
            <a:r>
              <a:rPr lang="en-US" dirty="0"/>
              <a:t>Country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E4F7FF7-FFF8-4DDE-B290-70F11DD201D9}"/>
              </a:ext>
            </a:extLst>
          </p:cNvPr>
          <p:cNvSpPr>
            <a:spLocks noGrp="1"/>
          </p:cNvSpPr>
          <p:nvPr userDrawn="1">
            <p:ph type="pic" sz="quarter" idx="24"/>
          </p:nvPr>
        </p:nvSpPr>
        <p:spPr>
          <a:xfrm>
            <a:off x="515937" y="452193"/>
            <a:ext cx="2059200" cy="2407543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lIns="72000" tIns="72000" rIns="72000" bIns="72000"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endParaRPr lang="en-GB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47E6BE60-214C-4F04-BA5D-17656099AA1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894355" y="856621"/>
            <a:ext cx="552323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25000"/>
              <a:defRPr lang="en-US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 marL="1371600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37">
            <a:extLst>
              <a:ext uri="{FF2B5EF4-FFF2-40B4-BE49-F238E27FC236}">
                <a16:creationId xmlns:a16="http://schemas.microsoft.com/office/drawing/2014/main" id="{CDB7D0A3-B841-4FBC-82C6-CF2EAF523C6E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31728" y="-10530"/>
            <a:ext cx="403326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1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dirty="0"/>
              <a:t>EXPERTISE AREA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FE7F4A-CD5B-42AA-9CBF-5B3A9048089A}"/>
              </a:ext>
            </a:extLst>
          </p:cNvPr>
          <p:cNvSpPr/>
          <p:nvPr userDrawn="1"/>
        </p:nvSpPr>
        <p:spPr>
          <a:xfrm>
            <a:off x="5894355" y="538718"/>
            <a:ext cx="5523231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US" sz="1600" b="1" dirty="0">
                <a:effectLst/>
                <a:latin typeface="+mn-lt"/>
                <a:ea typeface="Times New Roman" panose="02020603050405020304" pitchFamily="18" charset="0"/>
              </a:rPr>
              <a:t>AREAS OF EXPERTISE</a:t>
            </a:r>
            <a:endParaRPr lang="en-US" sz="1600" b="1" dirty="0"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41C064-D48F-4A85-A9FA-16F9F334E02A}"/>
              </a:ext>
            </a:extLst>
          </p:cNvPr>
          <p:cNvSpPr/>
          <p:nvPr userDrawn="1"/>
        </p:nvSpPr>
        <p:spPr>
          <a:xfrm>
            <a:off x="2704935" y="2940943"/>
            <a:ext cx="2894125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US" sz="1600" b="1" dirty="0">
                <a:solidFill>
                  <a:schemeClr val="tx2"/>
                </a:solidFill>
              </a:rPr>
              <a:t>Profi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68C289C-F48A-4E77-8AE3-8B1072B9CDF4}"/>
              </a:ext>
            </a:extLst>
          </p:cNvPr>
          <p:cNvSpPr/>
          <p:nvPr userDrawn="1"/>
        </p:nvSpPr>
        <p:spPr>
          <a:xfrm>
            <a:off x="5894355" y="2940943"/>
            <a:ext cx="5523231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US" sz="1600" b="1" dirty="0">
                <a:solidFill>
                  <a:schemeClr val="accent1"/>
                </a:solidFill>
              </a:rPr>
              <a:t>Selected Accomplishment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6252760-69BA-4669-9D11-73EA6AA95BB5}"/>
              </a:ext>
            </a:extLst>
          </p:cNvPr>
          <p:cNvSpPr txBox="1"/>
          <p:nvPr userDrawn="1"/>
        </p:nvSpPr>
        <p:spPr>
          <a:xfrm>
            <a:off x="10876403" y="6228781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US" sz="1200" b="0" i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7FA7EE3-5544-96E9-DBD7-22C230F213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5876605"/>
            <a:ext cx="1642934" cy="5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  <p15:guide id="2" orient="horz" pos="418">
          <p15:clr>
            <a:srgbClr val="FBAE40"/>
          </p15:clr>
        </p15:guide>
        <p15:guide id="3" orient="horz" pos="80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38FF95C-00E3-4B1B-92C0-26C31DEC1A25}"/>
              </a:ext>
            </a:extLst>
          </p:cNvPr>
          <p:cNvSpPr/>
          <p:nvPr/>
        </p:nvSpPr>
        <p:spPr>
          <a:xfrm>
            <a:off x="609602" y="-9417"/>
            <a:ext cx="11582397" cy="6859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6" name="Picture 15" descr="Shape&#10;&#10;Description automatically generated with low confidence">
            <a:extLst>
              <a:ext uri="{FF2B5EF4-FFF2-40B4-BE49-F238E27FC236}">
                <a16:creationId xmlns:a16="http://schemas.microsoft.com/office/drawing/2014/main" id="{CC40D918-0723-448D-A0B9-B5A4FF54CA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712" r="24403" b="6561"/>
          <a:stretch/>
        </p:blipFill>
        <p:spPr>
          <a:xfrm>
            <a:off x="5760994" y="-9417"/>
            <a:ext cx="6431006" cy="686741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B731525-2532-4067-AA0F-59598E71A69F}"/>
              </a:ext>
            </a:extLst>
          </p:cNvPr>
          <p:cNvSpPr/>
          <p:nvPr/>
        </p:nvSpPr>
        <p:spPr>
          <a:xfrm>
            <a:off x="1" y="0"/>
            <a:ext cx="609600" cy="6858000"/>
          </a:xfrm>
          <a:prstGeom prst="rect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DC3B30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3177248-67F6-45E9-9CCD-E6C4F88E6A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7221" y="1260745"/>
            <a:ext cx="3987465" cy="347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7"/>
              </a:lnSpc>
              <a:spcBef>
                <a:spcPts val="0"/>
              </a:spcBef>
              <a:buNone/>
              <a:defRPr sz="1600" b="1" i="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First Last Nam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18A3C335-1E3E-4553-A2A7-AB64E02840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7221" y="1679597"/>
            <a:ext cx="3987465" cy="15948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7"/>
              </a:lnSpc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Goes Here</a:t>
            </a:r>
          </a:p>
          <a:p>
            <a:pPr lvl="0"/>
            <a:r>
              <a:rPr lang="en-GB" dirty="0"/>
              <a:t>Second Line if Needed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000.123.4567 </a:t>
            </a:r>
          </a:p>
          <a:p>
            <a:pPr lvl="0"/>
            <a:r>
              <a:rPr lang="en-GB" dirty="0"/>
              <a:t>email@usa.dupont.com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131E0962-F1DD-4C44-AB96-60F9275DAC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7221" y="3583582"/>
            <a:ext cx="3987465" cy="347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7"/>
              </a:lnSpc>
              <a:spcBef>
                <a:spcPts val="0"/>
              </a:spcBef>
              <a:buNone/>
              <a:defRPr sz="1600" b="1" i="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US" dirty="0"/>
              <a:t>First Last Nam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59F2446-91A1-4B7F-9680-9669C02EF3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7221" y="4011100"/>
            <a:ext cx="3987465" cy="15948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87"/>
              </a:lnSpc>
              <a:spcBef>
                <a:spcPts val="0"/>
              </a:spcBef>
              <a:buNone/>
              <a:defRPr sz="1600" b="0" i="0" baseline="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  <a:lvl2pPr>
              <a:defRPr sz="1200" baseline="0"/>
            </a:lvl2pPr>
            <a:lvl3pPr>
              <a:defRPr sz="1200" baseline="0"/>
            </a:lvl3pPr>
            <a:lvl4pPr>
              <a:lnSpc>
                <a:spcPct val="130000"/>
              </a:lnSpc>
              <a:defRPr sz="1200" baseline="0"/>
            </a:lvl4pPr>
            <a:lvl5pPr>
              <a:defRPr sz="1200" baseline="0"/>
            </a:lvl5pPr>
          </a:lstStyle>
          <a:p>
            <a:pPr lvl="0"/>
            <a:r>
              <a:rPr lang="en-GB" dirty="0"/>
              <a:t>Title Goes Here</a:t>
            </a:r>
          </a:p>
          <a:p>
            <a:pPr lvl="0"/>
            <a:r>
              <a:rPr lang="en-GB" dirty="0"/>
              <a:t>Second Line if Needed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000.123.4567 </a:t>
            </a:r>
          </a:p>
          <a:p>
            <a:pPr lvl="0"/>
            <a:r>
              <a:rPr lang="en-GB" dirty="0"/>
              <a:t>email@usa.dupont.com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EF97A9-4FC9-4E32-AEEB-199CDDA9A4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8700" y="3017743"/>
            <a:ext cx="5067300" cy="822515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>
            <a:lvl1pPr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DD6AC8-FB1C-4234-95FF-837FA3BE61FA}"/>
              </a:ext>
            </a:extLst>
          </p:cNvPr>
          <p:cNvSpPr txBox="1"/>
          <p:nvPr userDrawn="1"/>
        </p:nvSpPr>
        <p:spPr>
          <a:xfrm>
            <a:off x="6753106" y="5850029"/>
            <a:ext cx="496610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/>
                </a:solidFill>
                <a:effectLst/>
                <a:latin typeface="Century Gothic" panose="020B0502020202020204" pitchFamily="34" charset="0"/>
                <a:ea typeface="Century Gothic" panose="020B0502020202020204" pitchFamily="34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sz="1200" dirty="0">
                <a:solidFill>
                  <a:schemeClr val="bg1"/>
                </a:solidFill>
              </a:rPr>
              <a:t>© 2022 DSS Sustainable Solutions Switzerland SA. All rights reserved. 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6F72344-9DE3-41EC-8CC4-93C936D7A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8700" y="4348083"/>
            <a:ext cx="4113790" cy="199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2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8">
          <p15:clr>
            <a:srgbClr val="FBAE40"/>
          </p15:clr>
        </p15:guide>
        <p15:guide id="2" pos="353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 - 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10007E26-14AF-942B-12FE-6272E49AC8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30000"/>
                    </a14:imgEffect>
                    <a14:imgEffect>
                      <a14:brightnessContrast bright="7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52064" t="-14845" r="-21225" b="41094"/>
          <a:stretch/>
        </p:blipFill>
        <p:spPr>
          <a:xfrm rot="10800000">
            <a:off x="6959600" y="0"/>
            <a:ext cx="5232400" cy="557981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1F77838-58B8-4B2C-A55C-CE060D64C8DA}"/>
              </a:ext>
            </a:extLst>
          </p:cNvPr>
          <p:cNvSpPr txBox="1"/>
          <p:nvPr userDrawn="1"/>
        </p:nvSpPr>
        <p:spPr>
          <a:xfrm>
            <a:off x="10876403" y="6325054"/>
            <a:ext cx="4263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0" noProof="0" dirty="0">
                <a:solidFill>
                  <a:schemeClr val="bg1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© DSS</a:t>
            </a:r>
            <a:endParaRPr lang="en-GB" sz="1200" b="0" i="0" noProof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810D9A-CC65-5535-8231-2A4DDE29B3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7926" y="196850"/>
            <a:ext cx="11416146" cy="276999"/>
          </a:xfrm>
          <a:prstGeom prst="rect">
            <a:avLst/>
          </a:prstGeom>
        </p:spPr>
        <p:txBody>
          <a:bodyPr vert="horz" wrap="square" lIns="0" tIns="45720" rIns="91440" bIns="45720" rtlCol="0" anchor="b">
            <a:spAutoFit/>
          </a:bodyPr>
          <a:lstStyle>
            <a:lvl1pPr>
              <a:defRPr lang="en-GB" sz="1200" dirty="0">
                <a:solidFill>
                  <a:schemeClr val="tx1"/>
                </a:solidFill>
              </a:defRPr>
            </a:lvl1pPr>
          </a:lstStyle>
          <a:p>
            <a:pPr marL="14700" lvl="0" indent="0">
              <a:buNone/>
            </a:pPr>
            <a:r>
              <a:rPr lang="en-GB" dirty="0"/>
              <a:t>Click to add on page track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3D35040-3F1F-6953-2655-129E6F8202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7926" y="1419591"/>
            <a:ext cx="11416146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b="1" baseline="0" noProof="0" dirty="0">
                <a:solidFill>
                  <a:schemeClr val="tx2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Click to add sub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265A122-9039-CB8D-83B7-F3E9C967A3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0999" y="1857876"/>
            <a:ext cx="11423651" cy="41249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noProof="0" dirty="0"/>
            </a:lvl1pPr>
          </a:lstStyle>
          <a:p>
            <a:pPr marL="14700" lvl="0" indent="0">
              <a:buNone/>
            </a:pPr>
            <a:r>
              <a:rPr lang="en-GB" noProof="0" dirty="0"/>
              <a:t>Click to add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39E61CF-DC18-D537-D5E5-DDD3D9FDF4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926" y="504825"/>
            <a:ext cx="1141614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GB" sz="2400" b="1" noProof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GB" noProof="0" dirty="0"/>
              <a:t>Click to add title</a:t>
            </a:r>
          </a:p>
        </p:txBody>
      </p:sp>
      <p:pic>
        <p:nvPicPr>
          <p:cNvPr id="21" name="Picture 20" descr="A picture containing logo&#10;&#10;Description automatically generated">
            <a:extLst>
              <a:ext uri="{FF2B5EF4-FFF2-40B4-BE49-F238E27FC236}">
                <a16:creationId xmlns:a16="http://schemas.microsoft.com/office/drawing/2014/main" id="{EE598455-476C-D44A-6C44-2B0C3EE45E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97" y="6162802"/>
            <a:ext cx="1580748" cy="509170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DFA4C3-F244-059A-5A4C-B1A71E5163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65745" y="6346606"/>
            <a:ext cx="8863215" cy="14156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FontTx/>
              <a:buNone/>
              <a:defRPr lang="en-US" sz="1000" b="0" dirty="0">
                <a:solidFill>
                  <a:schemeClr val="tx2"/>
                </a:solidFill>
              </a:defRPr>
            </a:lvl1pPr>
          </a:lstStyle>
          <a:p>
            <a:pPr marL="0" lvl="0" defTabSz="914400"/>
            <a:r>
              <a:rPr lang="en-GB" noProof="0" dirty="0">
                <a:solidFill>
                  <a:schemeClr val="accent6">
                    <a:lumMod val="50000"/>
                  </a:schemeClr>
                </a:solidFill>
              </a:rPr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161220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  <p15:guide id="2" orient="horz" pos="418">
          <p15:clr>
            <a:srgbClr val="FBAE40"/>
          </p15:clr>
        </p15:guide>
        <p15:guide id="3" orient="horz" pos="103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9312600" y="6115682"/>
            <a:ext cx="2543861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0074" y="6204943"/>
            <a:ext cx="1938534" cy="54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5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2852741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 dirty="0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3249616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 dirty="0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6" y="3644903"/>
            <a:ext cx="2768020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 dirty="0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2275451"/>
            <a:ext cx="3793425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4469287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 dirty="0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59392C87-BA9B-45F2-A7A9-4726AE0E35D5}" type="datetime1">
              <a:rPr lang="de-CH" smtClean="0"/>
              <a:t>29.02.2024</a:t>
            </a:fld>
            <a:endParaRPr lang="de-CH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 dirty="0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 dirty="0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Master Power Point Modè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874872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 dirty="0"/>
              <a:t>Text durch Klicken hinzufüg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fld id="{A0FFCA76-D673-4E87-ABB8-338A906E7245}" type="datetime1">
              <a:rPr lang="de-CH" smtClean="0"/>
              <a:t>29.02.2024</a:t>
            </a:fld>
            <a:endParaRPr lang="de-CH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 dirty="0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 dirty="0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Master Power Point Modè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539052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984277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9312600" y="6115682"/>
            <a:ext cx="2543861" cy="74231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9" name="Picture 21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0074" y="6204943"/>
            <a:ext cx="1938534" cy="54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695155"/>
            <a:ext cx="6685242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2- zeilig (sonst löschen)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2852741"/>
            <a:ext cx="3284187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Vorname Name, Funktio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3249616"/>
            <a:ext cx="1916826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6" y="3644903"/>
            <a:ext cx="2768020" cy="358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/>
            </a:lvl1pPr>
          </a:lstStyle>
          <a:p>
            <a:pPr lvl="0"/>
            <a:r>
              <a:rPr lang="de-CH"/>
              <a:t>Anlass,  Ort &amp; Datum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2275451"/>
            <a:ext cx="3793425" cy="543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</p:spTree>
    <p:extLst>
      <p:ext uri="{BB962C8B-B14F-4D97-AF65-F5344CB8AC3E}">
        <p14:creationId xmlns:p14="http://schemas.microsoft.com/office/powerpoint/2010/main" val="26741212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252966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6" name="Picture 135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FR"/>
              <a:t>02.09.2022</a:t>
            </a:r>
            <a:endParaRPr lang="de-CH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la RSE à Migros Genève en 2022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7128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Coopérative Migros Genève  |  Conseil d'administration 2 décembre 2021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18556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/>
              <a:t>Text durch Klicken hinzufüg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6" name="Fußzeilenplatzhalter 24"/>
          <p:cNvSpPr txBox="1">
            <a:spLocks/>
          </p:cNvSpPr>
          <p:nvPr userDrawn="1"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4" name="Picture 135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7" y="6640615"/>
            <a:ext cx="847685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FR"/>
              <a:t>02.09.2022</a:t>
            </a:r>
            <a:endParaRPr lang="de-CH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5"/>
            <a:ext cx="351481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z="990" smtClean="0"/>
              <a:pPr>
                <a:defRPr/>
              </a:pPr>
              <a:t>‹N°›</a:t>
            </a:fld>
            <a:endParaRPr lang="de-CH" sz="990"/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5"/>
            <a:ext cx="7310769" cy="1523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90" b="0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la RSE à Migros Genève en 2022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33858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eigenes Bild wä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5517232"/>
            <a:ext cx="368654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Vorname Name, Datum</a:t>
            </a:r>
          </a:p>
        </p:txBody>
      </p:sp>
      <p:sp>
        <p:nvSpPr>
          <p:cNvPr id="4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5051450"/>
            <a:ext cx="228231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Unternehmen</a:t>
            </a:r>
          </a:p>
        </p:txBody>
      </p:sp>
      <p:sp>
        <p:nvSpPr>
          <p:cNvPr id="47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8" y="1844824"/>
            <a:ext cx="131089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/>
              <a:t>Anlass</a:t>
            </a:r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1115732"/>
            <a:ext cx="4583705" cy="657084"/>
          </a:xfrm>
          <a:prstGeom prst="rect">
            <a:avLst/>
          </a:prstGeom>
          <a:solidFill>
            <a:schemeClr val="accent1">
              <a:alpha val="8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393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 wenn 1- zeilig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969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9768408" y="6115682"/>
            <a:ext cx="2088053" cy="742318"/>
            <a:chOff x="7566486" y="6115682"/>
            <a:chExt cx="2066887" cy="742318"/>
          </a:xfrm>
        </p:grpSpPr>
        <p:sp>
          <p:nvSpPr>
            <p:cNvPr id="20" name="Rechteck 19"/>
            <p:cNvSpPr/>
            <p:nvPr userDrawn="1"/>
          </p:nvSpPr>
          <p:spPr bwMode="auto">
            <a:xfrm>
              <a:off x="7566486" y="6115682"/>
              <a:ext cx="2066887" cy="742318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1"/>
            <a:lstStyle/>
            <a:p>
              <a:pPr algn="ctr" eaLnBrk="0" hangingPunct="0"/>
              <a:endParaRPr lang="de-CH" sz="1969"/>
            </a:p>
          </p:txBody>
        </p:sp>
        <p:pic>
          <p:nvPicPr>
            <p:cNvPr id="19" name="Picture 21"/>
            <p:cNvPicPr>
              <a:picLocks noChangeArrowheads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8169" y="6204943"/>
              <a:ext cx="1855108" cy="544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0308796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- eigenes Bild wä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91CDF75-5CC2-4604-B8CE-FFE91C363A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2482"/>
          <a:stretch/>
        </p:blipFill>
        <p:spPr>
          <a:xfrm>
            <a:off x="976" y="12204"/>
            <a:ext cx="12180963" cy="6604213"/>
          </a:xfrm>
          <a:prstGeom prst="rect">
            <a:avLst/>
          </a:prstGeom>
        </p:spPr>
      </p:pic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0" imgH="0" progId="TCLayout.ActiveDocument.1">
                  <p:embed/>
                </p:oleObj>
              </mc:Choice>
              <mc:Fallback>
                <p:oleObj name="Diapositive think-cell" r:id="rId4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78" y="5517232"/>
            <a:ext cx="368654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 dirty="0"/>
              <a:t>Vorname Name, Datum</a:t>
            </a:r>
          </a:p>
        </p:txBody>
      </p:sp>
      <p:sp>
        <p:nvSpPr>
          <p:cNvPr id="4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976" y="5051450"/>
            <a:ext cx="228231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 dirty="0"/>
              <a:t>Unternehmen</a:t>
            </a:r>
          </a:p>
        </p:txBody>
      </p:sp>
      <p:sp>
        <p:nvSpPr>
          <p:cNvPr id="47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78" y="1844824"/>
            <a:ext cx="1310891" cy="4297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2462" baseline="0" dirty="0"/>
            </a:lvl1pPr>
          </a:lstStyle>
          <a:p>
            <a:pPr lvl="0"/>
            <a:r>
              <a:rPr lang="de-CH" dirty="0"/>
              <a:t>Anlass</a:t>
            </a:r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77" y="1115732"/>
            <a:ext cx="4583705" cy="657084"/>
          </a:xfrm>
          <a:prstGeom prst="rect">
            <a:avLst/>
          </a:prstGeom>
          <a:solidFill>
            <a:schemeClr val="accent1">
              <a:alpha val="8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28800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CH" sz="3939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Titel wenn 1- zeilig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6115682"/>
            <a:ext cx="12192000" cy="74231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969" dirty="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9768408" y="6115682"/>
            <a:ext cx="2088053" cy="742318"/>
            <a:chOff x="7566486" y="6115682"/>
            <a:chExt cx="2066887" cy="742318"/>
          </a:xfrm>
        </p:grpSpPr>
        <p:sp>
          <p:nvSpPr>
            <p:cNvPr id="20" name="Rechteck 19"/>
            <p:cNvSpPr/>
            <p:nvPr userDrawn="1"/>
          </p:nvSpPr>
          <p:spPr bwMode="auto">
            <a:xfrm>
              <a:off x="7566486" y="6115682"/>
              <a:ext cx="2066887" cy="742318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lIns="0" tIns="0" rIns="0" bIns="0" rtlCol="0" anchor="ctr" anchorCtr="1"/>
            <a:lstStyle/>
            <a:p>
              <a:pPr algn="ctr" eaLnBrk="0" hangingPunct="0"/>
              <a:endParaRPr lang="de-CH" sz="1969" dirty="0"/>
            </a:p>
          </p:txBody>
        </p:sp>
        <p:pic>
          <p:nvPicPr>
            <p:cNvPr id="19" name="Picture 21"/>
            <p:cNvPicPr>
              <a:picLocks noChangeArrowheads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8169" y="6204943"/>
              <a:ext cx="1855108" cy="544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549931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529233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3327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5F138FAC-DA9B-4762-8486-C73FE5D16C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74625" y="179388"/>
            <a:ext cx="11837988" cy="6521450"/>
          </a:xfrm>
        </p:spPr>
        <p:txBody>
          <a:bodyPr/>
          <a:lstStyle/>
          <a:p>
            <a:endParaRPr lang="fr-CH" dirty="0"/>
          </a:p>
        </p:txBody>
      </p:sp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179546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180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954711" y="526378"/>
            <a:ext cx="5095997" cy="5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 err="1"/>
              <a:t>Titre</a:t>
            </a:r>
            <a:r>
              <a:rPr lang="de-CH" dirty="0"/>
              <a:t> </a:t>
            </a:r>
            <a:r>
              <a:rPr lang="de-CH" dirty="0" err="1"/>
              <a:t>quand</a:t>
            </a:r>
            <a:r>
              <a:rPr lang="de-CH" dirty="0"/>
              <a:t> deux </a:t>
            </a:r>
            <a:r>
              <a:rPr lang="de-CH" dirty="0" err="1"/>
              <a:t>lignes</a:t>
            </a:r>
            <a:endParaRPr lang="de-CH" dirty="0"/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55689" y="1753324"/>
            <a:ext cx="707492" cy="35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21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/>
              <a:t>Date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54711" y="2440810"/>
            <a:ext cx="2594795" cy="35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21000"/>
                    </a:prstClr>
                  </a:outerShdw>
                </a:effectLst>
              </a:defRPr>
            </a:lvl1pPr>
          </a:lstStyle>
          <a:p>
            <a:pPr lvl="0"/>
            <a:r>
              <a:rPr lang="de-CH" dirty="0" err="1"/>
              <a:t>Nom</a:t>
            </a:r>
            <a:r>
              <a:rPr lang="de-CH" dirty="0"/>
              <a:t>, </a:t>
            </a:r>
            <a:r>
              <a:rPr lang="de-CH" dirty="0" err="1"/>
              <a:t>Prénom</a:t>
            </a:r>
            <a:r>
              <a:rPr lang="de-CH" dirty="0"/>
              <a:t> - </a:t>
            </a:r>
            <a:r>
              <a:rPr lang="de-CH" dirty="0" err="1"/>
              <a:t>Titre</a:t>
            </a:r>
            <a:endParaRPr lang="de-CH" dirty="0"/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55688" y="1106674"/>
            <a:ext cx="4674976" cy="5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 err="1"/>
              <a:t>Titre</a:t>
            </a:r>
            <a:r>
              <a:rPr lang="de-CH" dirty="0"/>
              <a:t> </a:t>
            </a:r>
            <a:r>
              <a:rPr lang="de-CH" dirty="0" err="1"/>
              <a:t>quand</a:t>
            </a:r>
            <a:r>
              <a:rPr lang="de-CH" dirty="0"/>
              <a:t> </a:t>
            </a:r>
            <a:r>
              <a:rPr lang="de-CH" dirty="0" err="1"/>
              <a:t>une</a:t>
            </a:r>
            <a:r>
              <a:rPr lang="de-CH" dirty="0"/>
              <a:t> </a:t>
            </a:r>
            <a:r>
              <a:rPr lang="de-CH" dirty="0" err="1"/>
              <a:t>ligne</a:t>
            </a:r>
            <a:endParaRPr lang="de-CH" dirty="0"/>
          </a:p>
        </p:txBody>
      </p:sp>
      <p:sp>
        <p:nvSpPr>
          <p:cNvPr id="13" name="Rechteck 9">
            <a:extLst>
              <a:ext uri="{FF2B5EF4-FFF2-40B4-BE49-F238E27FC236}">
                <a16:creationId xmlns:a16="http://schemas.microsoft.com/office/drawing/2014/main" id="{E4A24494-B3EF-4247-BD8F-63B01F0C7C40}"/>
              </a:ext>
            </a:extLst>
          </p:cNvPr>
          <p:cNvSpPr/>
          <p:nvPr userDrawn="1"/>
        </p:nvSpPr>
        <p:spPr bwMode="auto">
          <a:xfrm>
            <a:off x="12016362" y="149278"/>
            <a:ext cx="180000" cy="670872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14" name="Rechteck 9">
            <a:extLst>
              <a:ext uri="{FF2B5EF4-FFF2-40B4-BE49-F238E27FC236}">
                <a16:creationId xmlns:a16="http://schemas.microsoft.com/office/drawing/2014/main" id="{AB2905CE-CA11-4E33-B686-6AAAC1EC984F}"/>
              </a:ext>
            </a:extLst>
          </p:cNvPr>
          <p:cNvSpPr/>
          <p:nvPr userDrawn="1"/>
        </p:nvSpPr>
        <p:spPr bwMode="auto">
          <a:xfrm>
            <a:off x="-5164" y="0"/>
            <a:ext cx="180000" cy="686095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C7765214-6BDB-418B-8566-7CD470C1BC51}"/>
              </a:ext>
            </a:extLst>
          </p:cNvPr>
          <p:cNvSpPr/>
          <p:nvPr userDrawn="1"/>
        </p:nvSpPr>
        <p:spPr bwMode="auto">
          <a:xfrm>
            <a:off x="4362" y="6694977"/>
            <a:ext cx="12192000" cy="180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22" name="Date Placeholder 5">
            <a:extLst>
              <a:ext uri="{FF2B5EF4-FFF2-40B4-BE49-F238E27FC236}">
                <a16:creationId xmlns:a16="http://schemas.microsoft.com/office/drawing/2014/main" id="{86D54CC6-63BE-4ADD-87EC-ADAFE0074E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17174" y="6401762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80000"/>
                    </a:prstClr>
                  </a:outerShdw>
                </a:effectLst>
                <a:uLnTx/>
                <a:uFillTx/>
              </a:defRPr>
            </a:lvl1pPr>
          </a:lstStyle>
          <a:p>
            <a:pPr algn="r"/>
            <a:r>
              <a:rPr lang="fr-FR"/>
              <a:t>07.07.2022</a:t>
            </a:r>
            <a:endParaRPr lang="de-CH" dirty="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88A76D35-43E0-4F02-9EED-EEF885A1EA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01762"/>
            <a:ext cx="28803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80000"/>
                    </a:prstClr>
                  </a:outerShdw>
                </a:effectLst>
                <a:uLnTx/>
                <a:uFillTx/>
              </a:defRPr>
            </a:lvl1pPr>
          </a:lstStyle>
          <a:p>
            <a:pPr>
              <a:defRPr/>
            </a:pPr>
            <a:r>
              <a:rPr lang="de-CH" dirty="0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78710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5F138FAC-DA9B-4762-8486-C73FE5D16C3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74625" y="179388"/>
            <a:ext cx="11837988" cy="6521450"/>
          </a:xfrm>
        </p:spPr>
        <p:txBody>
          <a:bodyPr/>
          <a:lstStyle/>
          <a:p>
            <a:endParaRPr lang="fr-CH" dirty="0"/>
          </a:p>
        </p:txBody>
      </p:sp>
      <p:graphicFrame>
        <p:nvGraphicFramePr>
          <p:cNvPr id="6" name="Rectangle 4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461481"/>
              </p:ext>
            </p:extLst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6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12192000" cy="180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60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954711" y="526378"/>
            <a:ext cx="5095997" cy="5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 err="1"/>
              <a:t>Titre</a:t>
            </a:r>
            <a:r>
              <a:rPr lang="de-CH" dirty="0"/>
              <a:t> </a:t>
            </a:r>
            <a:r>
              <a:rPr lang="de-CH" dirty="0" err="1"/>
              <a:t>quand</a:t>
            </a:r>
            <a:r>
              <a:rPr lang="de-CH" dirty="0"/>
              <a:t> deux </a:t>
            </a:r>
            <a:r>
              <a:rPr lang="de-CH" dirty="0" err="1"/>
              <a:t>lignes</a:t>
            </a:r>
            <a:endParaRPr lang="de-CH" dirty="0"/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55689" y="1753324"/>
            <a:ext cx="707492" cy="35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21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/>
              <a:t>Date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954711" y="2440810"/>
            <a:ext cx="2594795" cy="35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25200" rIns="72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2000" baseline="0" dirty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21000"/>
                    </a:prstClr>
                  </a:outerShdw>
                </a:effectLst>
              </a:defRPr>
            </a:lvl1pPr>
          </a:lstStyle>
          <a:p>
            <a:pPr lvl="0"/>
            <a:r>
              <a:rPr lang="de-CH" dirty="0" err="1"/>
              <a:t>Nom</a:t>
            </a:r>
            <a:r>
              <a:rPr lang="de-CH" dirty="0"/>
              <a:t>, </a:t>
            </a:r>
            <a:r>
              <a:rPr lang="de-CH" dirty="0" err="1"/>
              <a:t>Prénom</a:t>
            </a:r>
            <a:r>
              <a:rPr lang="de-CH" dirty="0"/>
              <a:t> - </a:t>
            </a:r>
            <a:r>
              <a:rPr lang="de-CH" dirty="0" err="1"/>
              <a:t>Titre</a:t>
            </a:r>
            <a:endParaRPr lang="de-CH" dirty="0"/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955688" y="1106674"/>
            <a:ext cx="4674976" cy="54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25200" rIns="108000" bIns="2520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FontTx/>
              <a:buNone/>
              <a:defRPr lang="de-CH" sz="3200" dirty="0"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latin typeface="+mj-lt"/>
              </a:defRPr>
            </a:lvl1pPr>
          </a:lstStyle>
          <a:p>
            <a:pPr lvl="0"/>
            <a:r>
              <a:rPr lang="de-CH" dirty="0" err="1"/>
              <a:t>Titre</a:t>
            </a:r>
            <a:r>
              <a:rPr lang="de-CH" dirty="0"/>
              <a:t> </a:t>
            </a:r>
            <a:r>
              <a:rPr lang="de-CH" dirty="0" err="1"/>
              <a:t>quand</a:t>
            </a:r>
            <a:r>
              <a:rPr lang="de-CH" dirty="0"/>
              <a:t> </a:t>
            </a:r>
            <a:r>
              <a:rPr lang="de-CH" dirty="0" err="1"/>
              <a:t>une</a:t>
            </a:r>
            <a:r>
              <a:rPr lang="de-CH" dirty="0"/>
              <a:t> </a:t>
            </a:r>
            <a:r>
              <a:rPr lang="de-CH" dirty="0" err="1"/>
              <a:t>ligne</a:t>
            </a:r>
            <a:endParaRPr lang="de-CH" dirty="0"/>
          </a:p>
        </p:txBody>
      </p:sp>
      <p:sp>
        <p:nvSpPr>
          <p:cNvPr id="13" name="Rechteck 9">
            <a:extLst>
              <a:ext uri="{FF2B5EF4-FFF2-40B4-BE49-F238E27FC236}">
                <a16:creationId xmlns:a16="http://schemas.microsoft.com/office/drawing/2014/main" id="{E4A24494-B3EF-4247-BD8F-63B01F0C7C40}"/>
              </a:ext>
            </a:extLst>
          </p:cNvPr>
          <p:cNvSpPr/>
          <p:nvPr userDrawn="1"/>
        </p:nvSpPr>
        <p:spPr bwMode="auto">
          <a:xfrm>
            <a:off x="12016362" y="149278"/>
            <a:ext cx="180000" cy="670872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14" name="Rechteck 9">
            <a:extLst>
              <a:ext uri="{FF2B5EF4-FFF2-40B4-BE49-F238E27FC236}">
                <a16:creationId xmlns:a16="http://schemas.microsoft.com/office/drawing/2014/main" id="{AB2905CE-CA11-4E33-B686-6AAAC1EC984F}"/>
              </a:ext>
            </a:extLst>
          </p:cNvPr>
          <p:cNvSpPr/>
          <p:nvPr userDrawn="1"/>
        </p:nvSpPr>
        <p:spPr bwMode="auto">
          <a:xfrm>
            <a:off x="-5164" y="0"/>
            <a:ext cx="180000" cy="686095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15" name="Rechteck 9">
            <a:extLst>
              <a:ext uri="{FF2B5EF4-FFF2-40B4-BE49-F238E27FC236}">
                <a16:creationId xmlns:a16="http://schemas.microsoft.com/office/drawing/2014/main" id="{C7765214-6BDB-418B-8566-7CD470C1BC51}"/>
              </a:ext>
            </a:extLst>
          </p:cNvPr>
          <p:cNvSpPr/>
          <p:nvPr userDrawn="1"/>
        </p:nvSpPr>
        <p:spPr bwMode="auto">
          <a:xfrm>
            <a:off x="4362" y="6694977"/>
            <a:ext cx="12192000" cy="180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 bwMode="auto">
          <a:xfrm>
            <a:off x="7541579" y="5805264"/>
            <a:ext cx="2543861" cy="105273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2A35989B-8861-407E-B6EB-02C129F183D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44631" y="6007491"/>
            <a:ext cx="2137757" cy="694132"/>
          </a:xfrm>
          <a:prstGeom prst="rect">
            <a:avLst/>
          </a:prstGeom>
        </p:spPr>
      </p:pic>
      <p:pic>
        <p:nvPicPr>
          <p:cNvPr id="5" name="Graphique 4">
            <a:extLst>
              <a:ext uri="{FF2B5EF4-FFF2-40B4-BE49-F238E27FC236}">
                <a16:creationId xmlns:a16="http://schemas.microsoft.com/office/drawing/2014/main" id="{5157EA7B-CB1B-4CAB-B31C-43D7E12632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84232" y="111142"/>
            <a:ext cx="1258554" cy="1442611"/>
          </a:xfrm>
          <a:prstGeom prst="rect">
            <a:avLst/>
          </a:prstGeom>
        </p:spPr>
      </p:pic>
      <p:sp>
        <p:nvSpPr>
          <p:cNvPr id="16" name="Date Placeholder 5">
            <a:extLst>
              <a:ext uri="{FF2B5EF4-FFF2-40B4-BE49-F238E27FC236}">
                <a16:creationId xmlns:a16="http://schemas.microsoft.com/office/drawing/2014/main" id="{FFF11407-E93A-4539-A531-8FD9D4EB18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17174" y="6401762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80000"/>
                    </a:prstClr>
                  </a:outerShdw>
                </a:effectLst>
                <a:uLnTx/>
                <a:uFillTx/>
              </a:defRPr>
            </a:lvl1pPr>
          </a:lstStyle>
          <a:p>
            <a:pPr algn="r"/>
            <a:r>
              <a:rPr lang="fr-FR"/>
              <a:t>07.07.2022</a:t>
            </a:r>
            <a:endParaRPr lang="de-CH" dirty="0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75BEF5D5-5E0C-4203-B4A2-A2860CD60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401762"/>
            <a:ext cx="28803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80000"/>
                    </a:prstClr>
                  </a:outerShdw>
                </a:effectLst>
                <a:uLnTx/>
                <a:uFillTx/>
              </a:defRPr>
            </a:lvl1pPr>
          </a:lstStyle>
          <a:p>
            <a:pPr>
              <a:defRPr/>
            </a:pPr>
            <a:r>
              <a:rPr lang="de-CH" dirty="0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53586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0108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DE" sz="24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38249"/>
            <a:ext cx="3060000" cy="300749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18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 rIns="36000" bIns="0"/>
          <a:lstStyle/>
          <a:p>
            <a:r>
              <a:rPr lang="fr-FR"/>
              <a:t>Modifiez le style du titre</a:t>
            </a:r>
            <a:endParaRPr lang="de-CH" dirty="0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sp>
        <p:nvSpPr>
          <p:cNvPr id="23" name="Fußzeilenplatzhalter 24">
            <a:extLst>
              <a:ext uri="{FF2B5EF4-FFF2-40B4-BE49-F238E27FC236}">
                <a16:creationId xmlns:a16="http://schemas.microsoft.com/office/drawing/2014/main" id="{0D4A4BB7-BEC2-436C-9B9B-B18DB4C9101B}"/>
              </a:ext>
            </a:extLst>
          </p:cNvPr>
          <p:cNvSpPr txBox="1"/>
          <p:nvPr userDrawn="1"/>
        </p:nvSpPr>
        <p:spPr>
          <a:xfrm>
            <a:off x="1440655" y="6640613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Date Placeholder 5">
            <a:extLst>
              <a:ext uri="{FF2B5EF4-FFF2-40B4-BE49-F238E27FC236}">
                <a16:creationId xmlns:a16="http://schemas.microsoft.com/office/drawing/2014/main" id="{6F6EA09A-9417-46AB-A816-1F4579BC7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20923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r"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r>
              <a:rPr lang="fr-FR"/>
              <a:t>07.07.2022</a:t>
            </a:r>
            <a:endParaRPr lang="de-CH" dirty="0"/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3464C3E3-1F5B-423D-B987-31E0F5754D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640613"/>
            <a:ext cx="28803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defRPr/>
            </a:pPr>
            <a:r>
              <a:rPr lang="de-CH" dirty="0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 dirty="0"/>
          </a:p>
        </p:txBody>
      </p:sp>
      <p:sp>
        <p:nvSpPr>
          <p:cNvPr id="26" name="Footer Placeholder 1">
            <a:extLst>
              <a:ext uri="{FF2B5EF4-FFF2-40B4-BE49-F238E27FC236}">
                <a16:creationId xmlns:a16="http://schemas.microsoft.com/office/drawing/2014/main" id="{78A10234-250A-4CCD-88F6-EC6BB1382A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3677" y="6625225"/>
            <a:ext cx="7310769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r>
              <a:rPr lang="fr-CH"/>
              <a:t>Société Coopérative Migros Genève | Séance des Cadres</a:t>
            </a:r>
            <a:endParaRPr lang="de-CH" dirty="0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041784F-7EFD-47DB-90D7-F6E7D666D9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299" r="5122" b="50000"/>
          <a:stretch/>
        </p:blipFill>
        <p:spPr>
          <a:xfrm>
            <a:off x="335360" y="6629389"/>
            <a:ext cx="611015" cy="11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6688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_Titel_Untertitel_Inhaltsplatzspei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0"/>
          <a:lstStyle/>
          <a:p>
            <a:r>
              <a:rPr lang="fr-FR"/>
              <a:t>Modifiez le style du titr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 hasCustomPrompt="1"/>
          </p:nvPr>
        </p:nvSpPr>
        <p:spPr>
          <a:xfrm>
            <a:off x="336063" y="1125538"/>
            <a:ext cx="11517924" cy="1231106"/>
          </a:xfrm>
          <a:prstGeom prst="rect">
            <a:avLst/>
          </a:prstGeo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de-CH" dirty="0"/>
              <a:t>Text durch Klicken hinzufüg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38249"/>
            <a:ext cx="3060000" cy="300749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18000" anchor="ctr" anchorCtr="0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Untertitel</a:t>
            </a:r>
          </a:p>
        </p:txBody>
      </p:sp>
      <p:sp>
        <p:nvSpPr>
          <p:cNvPr id="21" name="Fußzeilenplatzhalter 24">
            <a:extLst>
              <a:ext uri="{FF2B5EF4-FFF2-40B4-BE49-F238E27FC236}">
                <a16:creationId xmlns:a16="http://schemas.microsoft.com/office/drawing/2014/main" id="{BA6B8CC9-4357-4254-B992-D074259F7674}"/>
              </a:ext>
            </a:extLst>
          </p:cNvPr>
          <p:cNvSpPr txBox="1"/>
          <p:nvPr userDrawn="1"/>
        </p:nvSpPr>
        <p:spPr>
          <a:xfrm>
            <a:off x="1440655" y="6640613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BED4899F-91E2-415E-B3EF-9FCA45D09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1464" y="6621242"/>
            <a:ext cx="7310769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9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r>
              <a:rPr lang="fr-CH"/>
              <a:t>Société Coopérative Migros Genève | Séance des Cadres</a:t>
            </a:r>
            <a:endParaRPr lang="de-CH" dirty="0"/>
          </a:p>
        </p:txBody>
      </p:sp>
      <p:sp>
        <p:nvSpPr>
          <p:cNvPr id="17" name="Date Placeholder 5">
            <a:extLst>
              <a:ext uri="{FF2B5EF4-FFF2-40B4-BE49-F238E27FC236}">
                <a16:creationId xmlns:a16="http://schemas.microsoft.com/office/drawing/2014/main" id="{10E92AB4-6B43-4609-9A02-474FB2674B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720923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r"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r>
              <a:rPr lang="fr-FR"/>
              <a:t>07.07.2022</a:t>
            </a:r>
            <a:endParaRPr lang="de-CH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D211ECFD-F719-4FD7-AF4F-0F2FB4DD32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8608" y="6640613"/>
            <a:ext cx="288032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 dirty="0"/>
          </a:p>
        </p:txBody>
      </p:sp>
      <p:sp>
        <p:nvSpPr>
          <p:cNvPr id="19" name="Eingekerbter Richtungspfeil 2">
            <a:extLst>
              <a:ext uri="{FF2B5EF4-FFF2-40B4-BE49-F238E27FC236}">
                <a16:creationId xmlns:a16="http://schemas.microsoft.com/office/drawing/2014/main" id="{31A8309E-579D-4961-BA62-061433B7C63D}"/>
              </a:ext>
            </a:extLst>
          </p:cNvPr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 dirty="0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475976FF-9E4C-4164-808C-1E72FA0CD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299" r="5122" b="50000"/>
          <a:stretch/>
        </p:blipFill>
        <p:spPr>
          <a:xfrm>
            <a:off x="335360" y="6629389"/>
            <a:ext cx="611015" cy="11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3611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40164" y="2718896"/>
            <a:ext cx="7911670" cy="615553"/>
          </a:xfrm>
        </p:spPr>
        <p:txBody>
          <a:bodyPr lIns="0" tIns="0" rIns="0" bIns="0"/>
          <a:lstStyle>
            <a:lvl1pPr>
              <a:defRPr sz="40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25"/>
              </a:spcBef>
            </a:pPr>
            <a:r>
              <a:rPr lang="fr-CH" spc="-5"/>
              <a:t>Société Coopérative Migros Genève | Séance des Cadres</a:t>
            </a:r>
            <a:endParaRPr lang="fr-CH"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07.07.2022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718203">
              <a:spcBef>
                <a:spcPts val="25"/>
              </a:spcBef>
            </a:pPr>
            <a:r>
              <a:rPr lang="fr-CH"/>
              <a:t>|</a:t>
            </a:r>
            <a:r>
              <a:rPr lang="fr-CH" spc="-45"/>
              <a:t> </a:t>
            </a:r>
            <a:fld id="{81D60167-4931-47E6-BA6A-407CBD079E47}" type="slidenum">
              <a:rPr smtClean="0"/>
              <a:pPr marL="718203">
                <a:spcBef>
                  <a:spcPts val="25"/>
                </a:spcBef>
              </a:pPr>
              <a:t>‹N°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72245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_Titel_Fre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0" imgH="0" progId="TCLayout.ActiveDocument.1">
                  <p:embed/>
                </p:oleObj>
              </mc:Choice>
              <mc:Fallback>
                <p:oleObj name="Diapositive think-cell" r:id="rId3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6"/>
            <a:ext cx="847685" cy="1229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799" b="0" i="0" u="none" strike="noStrike" cap="none" spc="0" normalizeH="0" baseline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r>
              <a:rPr lang="fr-FR"/>
              <a:t>07.07.2022</a:t>
            </a:r>
            <a:endParaRPr lang="de-CH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6"/>
            <a:ext cx="351481" cy="1229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799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 rIns="36000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11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2" name="Picture 135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ußzeilenplatzhalter 24"/>
          <p:cNvSpPr txBox="1"/>
          <p:nvPr userDrawn="1"/>
        </p:nvSpPr>
        <p:spPr>
          <a:xfrm>
            <a:off x="1440657" y="6640615"/>
            <a:ext cx="7631728" cy="1229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799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14452"/>
            <a:ext cx="7310769" cy="1229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799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Séance des Cadre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9932143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741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741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000000"/>
                </a:solidFill>
              </a:rPr>
              <a:t>Coopérative Migros Genève  |  Conseil d'administration 2 décembre 2021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3F87B0-BFC8-4C7A-88D9-445AD0F7F1F9}" type="slidenum">
              <a:rPr lang="fr-CH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C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7253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723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rtl="0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fr-FR"/>
              <a:t>07.07.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fr-FR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fr-FR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</a:t>
            </a:r>
            <a:r>
              <a:rPr lang="fr-FR" sz="700" err="1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rights</a:t>
            </a: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 </a:t>
            </a:r>
            <a:r>
              <a:rPr lang="fr-FR" sz="700" err="1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reserved</a:t>
            </a: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4678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Untertitel, Fre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6737" y="729162"/>
            <a:ext cx="929792" cy="318924"/>
          </a:xfrm>
          <a:prstGeom prst="rect">
            <a:avLst/>
          </a:prstGeom>
          <a:solidFill>
            <a:schemeClr val="accent1"/>
          </a:solidFill>
        </p:spPr>
        <p:txBody>
          <a:bodyPr wrap="none" lIns="72000" tIns="36000" rIns="36000" bIns="36000" anchor="ctr" anchorCtr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Untertitel</a:t>
            </a:r>
          </a:p>
        </p:txBody>
      </p:sp>
      <p:sp>
        <p:nvSpPr>
          <p:cNvPr id="13" name="Fußzeilenplatzhalter 24"/>
          <p:cNvSpPr txBox="1"/>
          <p:nvPr userDrawn="1"/>
        </p:nvSpPr>
        <p:spPr>
          <a:xfrm>
            <a:off x="1440655" y="6640613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Date Placeholder 5"/>
          <p:cNvSpPr>
            <a:spLocks noGrp="1"/>
          </p:cNvSpPr>
          <p:nvPr>
            <p:ph type="dt" sz="half" idx="2"/>
          </p:nvPr>
        </p:nvSpPr>
        <p:spPr>
          <a:xfrm>
            <a:off x="10848906" y="6640613"/>
            <a:ext cx="84768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FR"/>
              <a:t>07.07.2022</a:t>
            </a:r>
            <a:endParaRPr lang="de-CH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05159" y="6640613"/>
            <a:ext cx="351481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pPr>
              <a:defRPr/>
            </a:pPr>
            <a:r>
              <a:rPr lang="de-CH"/>
              <a:t>| </a:t>
            </a:r>
            <a:fld id="{E81B8D95-AA0C-433D-B79A-00E7CF97219C}" type="slidenum">
              <a:rPr lang="de-CH" smtClean="0"/>
              <a:pPr>
                <a:defRPr/>
              </a:pPr>
              <a:t>‹N°›</a:t>
            </a:fld>
            <a:endParaRPr lang="de-CH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337356" y="6642003"/>
            <a:ext cx="7310769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kumimoji="0" lang="en-GB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defRPr>
            </a:lvl1pPr>
          </a:lstStyle>
          <a:p>
            <a:r>
              <a:rPr lang="fr-CH"/>
              <a:t>Société Coopérative Migros Genève | Séance des Cadres</a:t>
            </a:r>
            <a:endParaRPr lang="de-CH"/>
          </a:p>
        </p:txBody>
      </p:sp>
      <p:sp>
        <p:nvSpPr>
          <p:cNvPr id="17" name="Eingekerbter Richtungspfeil 2"/>
          <p:cNvSpPr/>
          <p:nvPr userDrawn="1"/>
        </p:nvSpPr>
        <p:spPr bwMode="auto">
          <a:xfrm>
            <a:off x="111301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18" name="Picture 13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6061" y="6629389"/>
            <a:ext cx="753231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0410722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180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fr-FR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 rtl="0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r>
              <a:rPr lang="fr-FR" err="1"/>
              <a:t>icon</a:t>
            </a:r>
            <a:r>
              <a:rPr lang="fr-FR"/>
              <a:t> </a:t>
            </a:r>
            <a:r>
              <a:rPr lang="fr-FR" err="1"/>
              <a:t>below</a:t>
            </a:r>
            <a:r>
              <a:rPr lang="fr-FR"/>
              <a:t> to insert an image or </a:t>
            </a:r>
            <a:r>
              <a:rPr lang="fr-FR" err="1"/>
              <a:t>remove</a:t>
            </a:r>
            <a:r>
              <a:rPr lang="fr-FR"/>
              <a:t> </a:t>
            </a:r>
            <a:r>
              <a:rPr lang="fr-FR" err="1"/>
              <a:t>this</a:t>
            </a:r>
            <a:r>
              <a:rPr lang="fr-FR"/>
              <a:t> </a:t>
            </a:r>
            <a:r>
              <a:rPr lang="fr-FR" err="1"/>
              <a:t>placeholder</a:t>
            </a:r>
            <a:r>
              <a:rPr lang="fr-FR"/>
              <a:t> to use the </a:t>
            </a:r>
            <a:r>
              <a:rPr lang="fr-FR" err="1"/>
              <a:t>whitespace</a:t>
            </a:r>
            <a:r>
              <a:rPr lang="fr-FR"/>
              <a:t> in </a:t>
            </a:r>
            <a:r>
              <a:rPr lang="fr-FR" err="1"/>
              <a:t>another</a:t>
            </a:r>
            <a:r>
              <a:rPr lang="fr-FR"/>
              <a:t> </a:t>
            </a:r>
            <a:r>
              <a:rPr lang="fr-FR" err="1"/>
              <a:t>way</a:t>
            </a:r>
            <a:endParaRPr lang="fr-FR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 rtl="0"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fr-FR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fr-FR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fr-FR"/>
              <a:t>07.07.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</a:t>
            </a:r>
            <a:r>
              <a:rPr lang="fr-FR" sz="700" err="1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rights</a:t>
            </a: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 </a:t>
            </a:r>
            <a:r>
              <a:rPr lang="fr-FR" sz="700" err="1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reserved</a:t>
            </a:r>
            <a:r>
              <a:rPr lang="fr-FR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496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47F72F39-036B-7A6D-FB6B-5D859276B33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5" y="252413"/>
            <a:ext cx="11687175" cy="6353175"/>
          </a:xfrm>
          <a:custGeom>
            <a:avLst/>
            <a:gdLst>
              <a:gd name="connsiteX0" fmla="*/ 0 w 11687175"/>
              <a:gd name="connsiteY0" fmla="*/ 0 h 6353175"/>
              <a:gd name="connsiteX1" fmla="*/ 11686376 w 11687175"/>
              <a:gd name="connsiteY1" fmla="*/ 0 h 6353175"/>
              <a:gd name="connsiteX2" fmla="*/ 11686376 w 11687175"/>
              <a:gd name="connsiteY2" fmla="*/ 5326856 h 6353175"/>
              <a:gd name="connsiteX3" fmla="*/ 11687175 w 11687175"/>
              <a:gd name="connsiteY3" fmla="*/ 5326856 h 6353175"/>
              <a:gd name="connsiteX4" fmla="*/ 11687175 w 11687175"/>
              <a:gd name="connsiteY4" fmla="*/ 5618168 h 6353175"/>
              <a:gd name="connsiteX5" fmla="*/ 11687175 w 11687175"/>
              <a:gd name="connsiteY5" fmla="*/ 5811838 h 6353175"/>
              <a:gd name="connsiteX6" fmla="*/ 10409238 w 11687175"/>
              <a:gd name="connsiteY6" fmla="*/ 5811838 h 6353175"/>
              <a:gd name="connsiteX7" fmla="*/ 10409238 w 11687175"/>
              <a:gd name="connsiteY7" fmla="*/ 5821363 h 6353175"/>
              <a:gd name="connsiteX8" fmla="*/ 10407650 w 11687175"/>
              <a:gd name="connsiteY8" fmla="*/ 5821363 h 6353175"/>
              <a:gd name="connsiteX9" fmla="*/ 10407650 w 11687175"/>
              <a:gd name="connsiteY9" fmla="*/ 6353175 h 6353175"/>
              <a:gd name="connsiteX10" fmla="*/ 10014744 w 11687175"/>
              <a:gd name="connsiteY10" fmla="*/ 6353175 h 6353175"/>
              <a:gd name="connsiteX11" fmla="*/ 8434221 w 11687175"/>
              <a:gd name="connsiteY11" fmla="*/ 6353175 h 6353175"/>
              <a:gd name="connsiteX12" fmla="*/ 8434221 w 11687175"/>
              <a:gd name="connsiteY12" fmla="*/ 6353172 h 6353175"/>
              <a:gd name="connsiteX13" fmla="*/ 0 w 11687175"/>
              <a:gd name="connsiteY13" fmla="*/ 6353172 h 63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687175" h="6353175">
                <a:moveTo>
                  <a:pt x="0" y="0"/>
                </a:moveTo>
                <a:lnTo>
                  <a:pt x="11686376" y="0"/>
                </a:lnTo>
                <a:lnTo>
                  <a:pt x="11686376" y="5326856"/>
                </a:lnTo>
                <a:lnTo>
                  <a:pt x="11687175" y="5326856"/>
                </a:lnTo>
                <a:lnTo>
                  <a:pt x="11687175" y="5618168"/>
                </a:lnTo>
                <a:lnTo>
                  <a:pt x="11687175" y="5811838"/>
                </a:lnTo>
                <a:lnTo>
                  <a:pt x="10409238" y="5811838"/>
                </a:lnTo>
                <a:lnTo>
                  <a:pt x="10409238" y="5821363"/>
                </a:lnTo>
                <a:lnTo>
                  <a:pt x="10407650" y="5821363"/>
                </a:lnTo>
                <a:lnTo>
                  <a:pt x="10407650" y="6353175"/>
                </a:lnTo>
                <a:lnTo>
                  <a:pt x="10014744" y="6353175"/>
                </a:lnTo>
                <a:lnTo>
                  <a:pt x="8434221" y="6353175"/>
                </a:lnTo>
                <a:lnTo>
                  <a:pt x="8434221" y="6353172"/>
                </a:lnTo>
                <a:lnTo>
                  <a:pt x="0" y="635317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b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A1691E82-091D-79CC-1491-A0559BB9C2D3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39">
            <a:extLst>
              <a:ext uri="{FF2B5EF4-FFF2-40B4-BE49-F238E27FC236}">
                <a16:creationId xmlns:a16="http://schemas.microsoft.com/office/drawing/2014/main" id="{954A1295-D22B-5BC8-41FC-90E3E29C0EB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B7779587-BD36-1C15-1FD1-C89D8D08D364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7.6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9D77BEF7-B2AB-6CF6-5111-65F17538256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ABDB0717-E347-4BE5-3495-6270F35DFE8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51093A48-5359-F3AC-AEBD-C3B5FD26B1F9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0" name="Gerade Verbindung 45">
            <a:extLst>
              <a:ext uri="{FF2B5EF4-FFF2-40B4-BE49-F238E27FC236}">
                <a16:creationId xmlns:a16="http://schemas.microsoft.com/office/drawing/2014/main" id="{E1878330-60F3-B4E0-3B77-6A492361A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4757B09-09A8-F16C-4975-547EF2F523EA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908F97F-5D4A-44E9-ECCA-46746910EB34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7" y="252000"/>
            <a:ext cx="5716800" cy="1429687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19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Präsentationstitel</a:t>
            </a:r>
          </a:p>
          <a:p>
            <a:pPr lvl="1"/>
            <a:r>
              <a:rPr lang="de-CH"/>
              <a:t>Information</a:t>
            </a:r>
          </a:p>
        </p:txBody>
      </p:sp>
      <p:cxnSp>
        <p:nvCxnSpPr>
          <p:cNvPr id="7" name="Gerade Verbindung 39">
            <a:extLst>
              <a:ext uri="{FF2B5EF4-FFF2-40B4-BE49-F238E27FC236}">
                <a16:creationId xmlns:a16="http://schemas.microsoft.com/office/drawing/2014/main" id="{C2DA3D16-235B-69D1-DECF-735627EEF0E3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22EE8BDF-C6A9-8833-4836-BCEB4829190F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9">
            <a:extLst>
              <a:ext uri="{FF2B5EF4-FFF2-40B4-BE49-F238E27FC236}">
                <a16:creationId xmlns:a16="http://schemas.microsoft.com/office/drawing/2014/main" id="{78510D02-06F5-A9DD-15CB-078CE4730E2E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7E5479A6-551D-D352-AE95-F36DAB36322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>
            <a:extLst>
              <a:ext uri="{FF2B5EF4-FFF2-40B4-BE49-F238E27FC236}">
                <a16:creationId xmlns:a16="http://schemas.microsoft.com/office/drawing/2014/main" id="{8100691F-4101-C68A-23FB-C1656C68A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19" b="25843"/>
          <a:stretch/>
        </p:blipFill>
        <p:spPr>
          <a:xfrm>
            <a:off x="10686251" y="6069686"/>
            <a:ext cx="1508072" cy="760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797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D6F37-9825-42DD-ACD2-35569EF6646E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35AA230F-3E9C-84F2-EBD7-4A6CAD0FB1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6" y="252313"/>
            <a:ext cx="11687169" cy="6354000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1352743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270000" indent="-270000">
              <a:spcBef>
                <a:spcPts val="126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Inhaltsverzeichnis</a:t>
            </a:r>
          </a:p>
          <a:p>
            <a:pPr lvl="1"/>
            <a:r>
              <a:rPr lang="de-CH"/>
              <a:t>Abschnitts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2B781F32-7A68-6C02-D3A1-22425FCABE29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9">
            <a:extLst>
              <a:ext uri="{FF2B5EF4-FFF2-40B4-BE49-F238E27FC236}">
                <a16:creationId xmlns:a16="http://schemas.microsoft.com/office/drawing/2014/main" id="{A31230F4-5FF4-56BA-8BF1-24EA2D9A476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83926B78-F801-EDBB-C852-635608A7751F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7.6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6" name="Gerade Verbindung 39">
            <a:extLst>
              <a:ext uri="{FF2B5EF4-FFF2-40B4-BE49-F238E27FC236}">
                <a16:creationId xmlns:a16="http://schemas.microsoft.com/office/drawing/2014/main" id="{60762EB3-8EB6-C00E-E08F-1137992E44F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52B1E6F7-25AC-99FE-D940-918520CE18B9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0F90C9F3-4C5F-ACFD-4655-DFB7DD29A0BE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0" name="Gerade Verbindung 45">
            <a:extLst>
              <a:ext uri="{FF2B5EF4-FFF2-40B4-BE49-F238E27FC236}">
                <a16:creationId xmlns:a16="http://schemas.microsoft.com/office/drawing/2014/main" id="{A1FE3DD9-45B9-52E6-66E0-323887DAC5AE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39696ABD-B808-8463-88FC-84FF7982D627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1A7691-B1E3-BDFA-4276-DD73E04F60C3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7A473EE3-1CD2-94D0-2578-BBC60B86FDF6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55062935-6A08-5E52-4099-4927132EE5B5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A726FF73-5C59-749B-4004-1BFA31E4BC9F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E7FD0154-C365-7808-1F99-93DE822B0736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8436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86C6DEAE-C7EA-3B22-5F22-15565FE8C9B7}"/>
              </a:ext>
            </a:extLst>
          </p:cNvPr>
          <p:cNvSpPr/>
          <p:nvPr userDrawn="1"/>
        </p:nvSpPr>
        <p:spPr>
          <a:xfrm>
            <a:off x="250826" y="252412"/>
            <a:ext cx="11687173" cy="6354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A8EB0-5668-4185-A8E6-284C24C602A9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1352743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270000" indent="-270000">
              <a:spcBef>
                <a:spcPts val="126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Inhaltsverzeichnis</a:t>
            </a:r>
          </a:p>
          <a:p>
            <a:pPr lvl="1"/>
            <a:r>
              <a:rPr lang="de-CH"/>
              <a:t>Abschnitts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7AF5984B-F356-BD00-9442-D52D2AD2E0C4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9">
            <a:extLst>
              <a:ext uri="{FF2B5EF4-FFF2-40B4-BE49-F238E27FC236}">
                <a16:creationId xmlns:a16="http://schemas.microsoft.com/office/drawing/2014/main" id="{7E5536A9-00BF-6374-ACC7-0AD612B33D5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123E34E9-959F-1DF1-D963-C7A20166BD60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6" name="Gerade Verbindung 39">
            <a:extLst>
              <a:ext uri="{FF2B5EF4-FFF2-40B4-BE49-F238E27FC236}">
                <a16:creationId xmlns:a16="http://schemas.microsoft.com/office/drawing/2014/main" id="{596E23E0-6C8C-AED9-AAA1-D6843C9F6DFF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45">
            <a:extLst>
              <a:ext uri="{FF2B5EF4-FFF2-40B4-BE49-F238E27FC236}">
                <a16:creationId xmlns:a16="http://schemas.microsoft.com/office/drawing/2014/main" id="{D7714FA2-3B5B-2D82-7930-0F5CD88187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6279FFD9-1C43-0C7C-7047-1A1864CBCA91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0" name="Gerade Verbindung 45">
            <a:extLst>
              <a:ext uri="{FF2B5EF4-FFF2-40B4-BE49-F238E27FC236}">
                <a16:creationId xmlns:a16="http://schemas.microsoft.com/office/drawing/2014/main" id="{44B692C2-48EA-9AEA-3732-ECE67DCBDC3E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A4D2115A-9C8E-4B34-BE31-B0E8C80B8484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7C47993-8E70-09BE-15F2-F94C1ECBA25A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46A6DCC3-0C45-38B9-C25E-3429C2D2CD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DEBBBCFB-1405-AFC4-EDC3-642FCE3946AB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B0738727-C7E4-6F63-A637-0A161E9A3C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28CF6801-B6BF-870A-8F16-79D8BAB757C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21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1B341-9CAC-4C16-9E66-4AAFBA408840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1352743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270000" indent="-270000">
              <a:spcBef>
                <a:spcPts val="126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Inhaltsverzeichnis</a:t>
            </a:r>
          </a:p>
          <a:p>
            <a:pPr lvl="1"/>
            <a:r>
              <a:rPr lang="de-CH"/>
              <a:t>Abschnitts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7AF5984B-F356-BD00-9442-D52D2AD2E0C4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9">
            <a:extLst>
              <a:ext uri="{FF2B5EF4-FFF2-40B4-BE49-F238E27FC236}">
                <a16:creationId xmlns:a16="http://schemas.microsoft.com/office/drawing/2014/main" id="{7E5536A9-00BF-6374-ACC7-0AD612B33D5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123E34E9-959F-1DF1-D963-C7A20166BD60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6" name="Gerade Verbindung 39">
            <a:extLst>
              <a:ext uri="{FF2B5EF4-FFF2-40B4-BE49-F238E27FC236}">
                <a16:creationId xmlns:a16="http://schemas.microsoft.com/office/drawing/2014/main" id="{596E23E0-6C8C-AED9-AAA1-D6843C9F6DFF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45">
            <a:extLst>
              <a:ext uri="{FF2B5EF4-FFF2-40B4-BE49-F238E27FC236}">
                <a16:creationId xmlns:a16="http://schemas.microsoft.com/office/drawing/2014/main" id="{D7714FA2-3B5B-2D82-7930-0F5CD88187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6279FFD9-1C43-0C7C-7047-1A1864CBCA91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0" name="Gerade Verbindung 45">
            <a:extLst>
              <a:ext uri="{FF2B5EF4-FFF2-40B4-BE49-F238E27FC236}">
                <a16:creationId xmlns:a16="http://schemas.microsoft.com/office/drawing/2014/main" id="{44B692C2-48EA-9AEA-3732-ECE67DCBDC3E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A4D2115A-9C8E-4B34-BE31-B0E8C80B8484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7C47993-8E70-09BE-15F2-F94C1ECBA25A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46A6DCC3-0C45-38B9-C25E-3429C2D2CD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DEBBBCFB-1405-AFC4-EDC3-642FCE3946AB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B0738727-C7E4-6F63-A637-0A161E9A3CA5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28CF6801-B6BF-870A-8F16-79D8BAB757C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1711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renn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8734F-CC5C-4E4F-9D16-B17311A3A5DF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35AA230F-3E9C-84F2-EBD7-4A6CAD0FB1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7" y="252413"/>
            <a:ext cx="11687168" cy="6353175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540000" indent="-54000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270000" indent="-270000">
              <a:spcBef>
                <a:spcPts val="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##	Abschnitts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5E6383B0-B5B0-EB39-4D99-2073726D47C3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39">
            <a:extLst>
              <a:ext uri="{FF2B5EF4-FFF2-40B4-BE49-F238E27FC236}">
                <a16:creationId xmlns:a16="http://schemas.microsoft.com/office/drawing/2014/main" id="{0737783C-E78C-7B70-1945-015D33F3893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5810996E-0210-3CF1-F9D6-94E7B4A4DA06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5" name="Gerade Verbindung 39">
            <a:extLst>
              <a:ext uri="{FF2B5EF4-FFF2-40B4-BE49-F238E27FC236}">
                <a16:creationId xmlns:a16="http://schemas.microsoft.com/office/drawing/2014/main" id="{41E943FE-D21A-DE01-1265-353C926B372A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45">
            <a:extLst>
              <a:ext uri="{FF2B5EF4-FFF2-40B4-BE49-F238E27FC236}">
                <a16:creationId xmlns:a16="http://schemas.microsoft.com/office/drawing/2014/main" id="{D324EE94-D45B-1D40-6F90-DAD2A8063EDD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E3C55282-8244-8A03-D219-4222F3B65F1B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6B6F09AA-7E50-250B-80D1-24A5B9470969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BC59C38B-DEEF-C510-7D78-1D0A15191B5F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6478EA-410A-F733-DB32-8DDEF4A2E593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2" name="Gerade Verbindung 39">
            <a:extLst>
              <a:ext uri="{FF2B5EF4-FFF2-40B4-BE49-F238E27FC236}">
                <a16:creationId xmlns:a16="http://schemas.microsoft.com/office/drawing/2014/main" id="{2C45A34A-4072-7583-E054-55CDB797C5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2F1625C5-EDD1-0B0D-7911-D9D76BC8DB51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5D500B47-AB6E-E991-1DDA-70C908C3A730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E202924F-5984-A0E6-DCDC-2F3E4923E0D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734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  <p15:guide id="4" pos="3761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renner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A20BC48-4E83-CE6F-5D94-A3E6DA79EE9F}"/>
              </a:ext>
            </a:extLst>
          </p:cNvPr>
          <p:cNvSpPr/>
          <p:nvPr userDrawn="1"/>
        </p:nvSpPr>
        <p:spPr>
          <a:xfrm>
            <a:off x="250826" y="252311"/>
            <a:ext cx="11687174" cy="635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DADB7-587B-4769-A162-F128EA839048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9780FA3C-A852-DBC0-080A-FF432E9C1547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413"/>
            <a:ext cx="0" cy="635317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39">
            <a:extLst>
              <a:ext uri="{FF2B5EF4-FFF2-40B4-BE49-F238E27FC236}">
                <a16:creationId xmlns:a16="http://schemas.microsoft.com/office/drawing/2014/main" id="{63ACB683-FEC4-323D-2E1B-BB0FADB1A39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650A4615-A43E-89DA-8238-D48EA6B22B5F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F752CAFE-8945-1662-9D90-4BCA4A11E03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14B74145-AA3F-1281-7445-98D711E27D8B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2E902EC2-6107-60EB-735A-75DA3CA9CC29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1" name="Gerade Verbindung 45">
            <a:extLst>
              <a:ext uri="{FF2B5EF4-FFF2-40B4-BE49-F238E27FC236}">
                <a16:creationId xmlns:a16="http://schemas.microsoft.com/office/drawing/2014/main" id="{775B1F35-12D5-E0BA-FB82-F5315B39EA33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545E2623-4869-A1B6-7644-7474BE1E7897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6A4FA8A-3056-AAEF-C9DC-E202A8E01137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A55C9B29-3CDD-9D18-8641-00FDB8A8FC40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794FB871-E8CF-8368-A95C-24E821728D0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07A666F7-97EC-4D7E-4012-2D1539756DC3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F2052A80-A682-F153-24F2-C5E019C60FA6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28">
            <a:extLst>
              <a:ext uri="{FF2B5EF4-FFF2-40B4-BE49-F238E27FC236}">
                <a16:creationId xmlns:a16="http://schemas.microsoft.com/office/drawing/2014/main" id="{85AE4717-AADA-FEF6-72F8-97B0CECEA2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540000" indent="-54000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270000" indent="-270000">
              <a:spcBef>
                <a:spcPts val="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##	Abschnittstitel</a:t>
            </a:r>
          </a:p>
        </p:txBody>
      </p:sp>
    </p:spTree>
    <p:extLst>
      <p:ext uri="{BB962C8B-B14F-4D97-AF65-F5344CB8AC3E}">
        <p14:creationId xmlns:p14="http://schemas.microsoft.com/office/powerpoint/2010/main" val="3554748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  <p15:guide id="4" pos="3761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renner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33836-3A80-4BCE-9075-1A1390BA503C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77137BA2-90F3-0335-29AA-65253E5A3A4B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9">
            <a:extLst>
              <a:ext uri="{FF2B5EF4-FFF2-40B4-BE49-F238E27FC236}">
                <a16:creationId xmlns:a16="http://schemas.microsoft.com/office/drawing/2014/main" id="{83D19E6C-0BAB-E125-B475-DC67B4C77DB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46E54B2A-1F0D-99BA-8704-81BB14688924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CE947057-4FB8-4D22-CE7F-909C0B75F72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28">
            <a:extLst>
              <a:ext uri="{FF2B5EF4-FFF2-40B4-BE49-F238E27FC236}">
                <a16:creationId xmlns:a16="http://schemas.microsoft.com/office/drawing/2014/main" id="{4BA1EAD4-7DB1-0B21-445B-A3386E20E1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540000" indent="-54000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270000" indent="-270000">
              <a:spcBef>
                <a:spcPts val="0"/>
              </a:spcBef>
              <a:buClrTx/>
              <a:buFont typeface="+mj-lt"/>
              <a:buAutoNum type="arabicPlain"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##	Abschnittstitel</a:t>
            </a:r>
          </a:p>
        </p:txBody>
      </p:sp>
      <p:cxnSp>
        <p:nvCxnSpPr>
          <p:cNvPr id="20" name="Gerade Verbindung 45">
            <a:extLst>
              <a:ext uri="{FF2B5EF4-FFF2-40B4-BE49-F238E27FC236}">
                <a16:creationId xmlns:a16="http://schemas.microsoft.com/office/drawing/2014/main" id="{8AC4FC88-45B0-A68F-EEC0-DBA3805486AD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01B51A70-5E8B-DA96-F75A-B54D4A779AA6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5C50708E-A41B-AB7C-DBD9-6FFFC95CE539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AFC9FF0C-6ED4-8044-3B9A-AF6657222767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B2B1447-3359-30C1-06E2-9985C4E0B203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26" name="Gerade Verbindung 39">
            <a:extLst>
              <a:ext uri="{FF2B5EF4-FFF2-40B4-BE49-F238E27FC236}">
                <a16:creationId xmlns:a16="http://schemas.microsoft.com/office/drawing/2014/main" id="{4C852ABD-67C7-B136-E554-C8B25FEA3FBE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F8A465A2-D5F6-C5F5-5CE5-9C6812AE6189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9">
            <a:extLst>
              <a:ext uri="{FF2B5EF4-FFF2-40B4-BE49-F238E27FC236}">
                <a16:creationId xmlns:a16="http://schemas.microsoft.com/office/drawing/2014/main" id="{98B36BD4-6B89-261F-B7FE-7ED1DC6360C3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9">
            <a:extLst>
              <a:ext uri="{FF2B5EF4-FFF2-40B4-BE49-F238E27FC236}">
                <a16:creationId xmlns:a16="http://schemas.microsoft.com/office/drawing/2014/main" id="{9F8DBFC6-35AE-D7A7-D67D-8EA4C60FFCB2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6327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  <p15:guide id="4" pos="376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titel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-1953" y="0"/>
            <a:ext cx="12192000" cy="648493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968375" eaLnBrk="0" hangingPunct="0"/>
            <a:endParaRPr lang="de-CH" sz="1600">
              <a:solidFill>
                <a:srgbClr val="000000"/>
              </a:solidFill>
            </a:endParaRPr>
          </a:p>
        </p:txBody>
      </p:sp>
      <p:sp>
        <p:nvSpPr>
          <p:cNvPr id="6" name="Rechteck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22220" y="487370"/>
            <a:ext cx="636954" cy="517525"/>
          </a:xfrm>
          <a:prstGeom prst="rect">
            <a:avLst/>
          </a:prstGeom>
          <a:solidFill>
            <a:schemeClr val="tx2"/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68375" eaLnBrk="0" hangingPunct="0"/>
            <a:r>
              <a:rPr lang="de-CH" sz="36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723303" y="2214554"/>
            <a:ext cx="10845801" cy="17859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000000">
                    <a:tint val="75000"/>
                  </a:srgbClr>
                </a:solidFill>
              </a:rPr>
              <a:t>|  Seite </a:t>
            </a:r>
            <a:fld id="{E81B8D95-AA0C-433D-B79A-00E7CF97219C}" type="slidenum">
              <a:rPr lang="de-CH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CH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>
          <a:xfrm>
            <a:off x="1603938" y="6526800"/>
            <a:ext cx="7355077" cy="27000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>
              <a:defRPr lang="de-CH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CH">
                <a:solidFill>
                  <a:srgbClr val="000000">
                    <a:tint val="75000"/>
                  </a:srgbClr>
                </a:solidFill>
              </a:rPr>
              <a:t>Coopérative Migros Genève  |  Conseil d'administration 2 décembre 2021</a:t>
            </a:r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0304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14AEB-1077-421C-A236-ED3114E8B4A2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026000"/>
            <a:ext cx="11687174" cy="5580000"/>
          </a:xfrm>
          <a:solidFill>
            <a:schemeClr val="bg2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25CB8C2C-B663-C4FE-0C22-A6D2F0F4E090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314931F2-870B-7375-0DEE-8DB3548B2A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4297F1F2-DE4A-EDC2-6849-2A71F0E88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AE0769FF-B30A-495A-C3A1-3BC7C41E94CF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7A26B24C-9972-C621-5D45-682035891D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45">
            <a:extLst>
              <a:ext uri="{FF2B5EF4-FFF2-40B4-BE49-F238E27FC236}">
                <a16:creationId xmlns:a16="http://schemas.microsoft.com/office/drawing/2014/main" id="{8ED745F4-C25E-88D7-804F-A7097180BEB0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F89DA72-C75E-27DD-BC0D-02B8F976C12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2" name="Textplatzhalter 38">
            <a:extLst>
              <a:ext uri="{FF2B5EF4-FFF2-40B4-BE49-F238E27FC236}">
                <a16:creationId xmlns:a16="http://schemas.microsoft.com/office/drawing/2014/main" id="{004214F0-8F04-7B70-D86C-9F30A4E8CE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1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C3FDCDDC-9A07-F9D8-6005-4A465B6D4631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1827BCCC-60ED-72BA-68FD-CE0B7AD217EB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77A5DC5-9940-3CB1-84DB-374132D9FB53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55D763D4-5F90-2B5B-2786-0B817E9AB1DD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F4E4B394-610F-7C70-A097-721561BF5E1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45">
            <a:extLst>
              <a:ext uri="{FF2B5EF4-FFF2-40B4-BE49-F238E27FC236}">
                <a16:creationId xmlns:a16="http://schemas.microsoft.com/office/drawing/2014/main" id="{D892A097-96AD-5A8C-DCDF-9A505B3F823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A2C4AB62-346C-911C-3A47-B09BFCF71D35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19A3873E-8569-3CA1-FE7E-FF4D41F7E8D0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80B1E669-31D8-F9A5-73BA-4B46DDD53C7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740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10" pos="3840">
          <p15:clr>
            <a:srgbClr val="F26B43"/>
          </p15:clr>
        </p15:guide>
        <p15:guide id="11" pos="3920">
          <p15:clr>
            <a:srgbClr val="F26B43"/>
          </p15:clr>
        </p15:guide>
        <p15:guide id="12" pos="3761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51989-79FB-4CCE-BE86-D9B517C0CF03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5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1026000"/>
            <a:ext cx="11687174" cy="5580000"/>
          </a:xfrm>
          <a:noFill/>
        </p:spPr>
        <p:txBody>
          <a:bodyPr lIns="0" tIns="72000" rIns="0" bIns="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25CB8C2C-B663-C4FE-0C22-A6D2F0F4E090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314931F2-870B-7375-0DEE-8DB3548B2A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4297F1F2-DE4A-EDC2-6849-2A71F0E88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AE0769FF-B30A-495A-C3A1-3BC7C41E94CF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7A26B24C-9972-C621-5D45-682035891D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45">
            <a:extLst>
              <a:ext uri="{FF2B5EF4-FFF2-40B4-BE49-F238E27FC236}">
                <a16:creationId xmlns:a16="http://schemas.microsoft.com/office/drawing/2014/main" id="{8ED745F4-C25E-88D7-804F-A7097180BEB0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F89DA72-C75E-27DD-BC0D-02B8F976C12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2.1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0DFC9992-C783-2F3C-9065-4CCCDA661488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5F47FB56-0AEC-1E3B-1555-8DD839CB6916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F8C669-6620-F93B-F2B2-F5DF0DC6F7C8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1B3AFD81-3B74-9D20-FEE3-E1D1F87E2236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322C72BD-3BAB-6E68-DC34-754C9CAA3435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5">
            <a:extLst>
              <a:ext uri="{FF2B5EF4-FFF2-40B4-BE49-F238E27FC236}">
                <a16:creationId xmlns:a16="http://schemas.microsoft.com/office/drawing/2014/main" id="{2DDBA8AB-435D-1A79-2AE9-F53D44CA8BAC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1F47E36-FE4C-379E-D306-3C0D51DBBA05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9" name="Gerade Verbindung 39">
            <a:extLst>
              <a:ext uri="{FF2B5EF4-FFF2-40B4-BE49-F238E27FC236}">
                <a16:creationId xmlns:a16="http://schemas.microsoft.com/office/drawing/2014/main" id="{F7FE1A25-2786-BEEB-7BE4-1E035D639F28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27C61324-9218-D05A-9C79-FE76AB946B0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4467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mit Box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F1AB1-E624-4B0D-8FDB-E0F1A731DDB0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386FD430-860F-4C30-83C5-6EA8AFBAB823}"/>
              </a:ext>
            </a:extLst>
          </p:cNvPr>
          <p:cNvCxnSpPr>
            <a:cxnSpLocks/>
          </p:cNvCxnSpPr>
          <p:nvPr userDrawn="1"/>
        </p:nvCxnSpPr>
        <p:spPr>
          <a:xfrm>
            <a:off x="-66517" y="1352550"/>
            <a:ext cx="0" cy="525462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800F8F0E-6BA0-0454-7FC6-E3DA5293017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5D1A3D34-3F1D-F51C-4097-E29F1DEEEC5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99E2AE8-E468-2469-007B-51720B0398D8}"/>
              </a:ext>
            </a:extLst>
          </p:cNvPr>
          <p:cNvSpPr txBox="1"/>
          <p:nvPr userDrawn="1"/>
        </p:nvSpPr>
        <p:spPr bwMode="auto">
          <a:xfrm rot="16200000">
            <a:off x="-203858" y="3915926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4.6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48BE1A6-A758-92A6-05B7-B815DB1B09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F5B88F7F-3E23-1C8A-5A32-8372D870C7D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F6854618-9232-D05E-8AF8-0923E4FB713A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45" name="Gerade Verbindung 39">
            <a:extLst>
              <a:ext uri="{FF2B5EF4-FFF2-40B4-BE49-F238E27FC236}">
                <a16:creationId xmlns:a16="http://schemas.microsoft.com/office/drawing/2014/main" id="{33EB78E6-BA2D-7DFE-0453-56D681874EA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34858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F4F0A463-0221-AC37-4230-E8FE24A357DD}"/>
              </a:ext>
            </a:extLst>
          </p:cNvPr>
          <p:cNvSpPr txBox="1"/>
          <p:nvPr userDrawn="1"/>
        </p:nvSpPr>
        <p:spPr bwMode="auto">
          <a:xfrm rot="16200000">
            <a:off x="-175003" y="112267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9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24EEFBE4-1815-4268-0196-7AC69F7E5E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825" y="1026000"/>
            <a:ext cx="11687174" cy="324000"/>
          </a:xfrm>
          <a:solidFill>
            <a:schemeClr val="tx2"/>
          </a:solidFill>
        </p:spPr>
        <p:txBody>
          <a:bodyPr lIns="72000" tIns="0" rIns="72000" anchor="ctr" anchorCtr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</a:t>
            </a:r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350000"/>
            <a:ext cx="11687174" cy="5256000"/>
          </a:xfrm>
          <a:solidFill>
            <a:schemeClr val="bg2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extplatzhalter 38">
            <a:extLst>
              <a:ext uri="{FF2B5EF4-FFF2-40B4-BE49-F238E27FC236}">
                <a16:creationId xmlns:a16="http://schemas.microsoft.com/office/drawing/2014/main" id="{E8A6C312-5399-EC8B-C6BC-79AF04D7C8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4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594D8BEE-AD62-DA25-962E-C631A673C7C4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3B4D6AD4-6625-EDDF-CA56-DDA7032B6A62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77F82A2-E0DE-2877-1520-361CB292D762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ADB305AC-AF45-9A22-BD64-E4E03B740113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D5004A74-84FE-3351-06BC-EE74FF478021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5">
            <a:extLst>
              <a:ext uri="{FF2B5EF4-FFF2-40B4-BE49-F238E27FC236}">
                <a16:creationId xmlns:a16="http://schemas.microsoft.com/office/drawing/2014/main" id="{FD95EC7A-19C6-6A33-6299-8D6B0BFFFB4D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5E15A189-773C-E4DF-3EC9-B329B305F1E8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A0F255EA-207B-58D9-A1D0-A4166633638A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5B310DA5-E1A5-0297-C003-686EC6336B4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704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  <p15:guide id="13" orient="horz" pos="848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mit Box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7530B-D623-43FB-B3CA-CA99CA0838AB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386FD430-860F-4C30-83C5-6EA8AFBAB823}"/>
              </a:ext>
            </a:extLst>
          </p:cNvPr>
          <p:cNvCxnSpPr>
            <a:cxnSpLocks/>
          </p:cNvCxnSpPr>
          <p:nvPr userDrawn="1"/>
        </p:nvCxnSpPr>
        <p:spPr>
          <a:xfrm>
            <a:off x="-66517" y="1352550"/>
            <a:ext cx="0" cy="525462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800F8F0E-6BA0-0454-7FC6-E3DA5293017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5D1A3D34-3F1D-F51C-4097-E29F1DEEEC5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99E2AE8-E468-2469-007B-51720B0398D8}"/>
              </a:ext>
            </a:extLst>
          </p:cNvPr>
          <p:cNvSpPr txBox="1"/>
          <p:nvPr userDrawn="1"/>
        </p:nvSpPr>
        <p:spPr bwMode="auto">
          <a:xfrm rot="16200000">
            <a:off x="-203858" y="3915926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4.6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48BE1A6-A758-92A6-05B7-B815DB1B09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F5B88F7F-3E23-1C8A-5A32-8372D870C7D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F6854618-9232-D05E-8AF8-0923E4FB713A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45" name="Gerade Verbindung 39">
            <a:extLst>
              <a:ext uri="{FF2B5EF4-FFF2-40B4-BE49-F238E27FC236}">
                <a16:creationId xmlns:a16="http://schemas.microsoft.com/office/drawing/2014/main" id="{33EB78E6-BA2D-7DFE-0453-56D681874EA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34858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>
            <a:extLst>
              <a:ext uri="{FF2B5EF4-FFF2-40B4-BE49-F238E27FC236}">
                <a16:creationId xmlns:a16="http://schemas.microsoft.com/office/drawing/2014/main" id="{F4F0A463-0221-AC37-4230-E8FE24A357DD}"/>
              </a:ext>
            </a:extLst>
          </p:cNvPr>
          <p:cNvSpPr txBox="1"/>
          <p:nvPr userDrawn="1"/>
        </p:nvSpPr>
        <p:spPr bwMode="auto">
          <a:xfrm rot="16200000">
            <a:off x="-175003" y="112267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9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24EEFBE4-1815-4268-0196-7AC69F7E5E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825" y="1026000"/>
            <a:ext cx="11687174" cy="324000"/>
          </a:xfrm>
          <a:solidFill>
            <a:schemeClr val="tx2"/>
          </a:solidFill>
        </p:spPr>
        <p:txBody>
          <a:bodyPr lIns="72000" tIns="0" rIns="72000" anchor="ctr" anchorCtr="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Titel</a:t>
            </a:r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350000"/>
            <a:ext cx="11687174" cy="5256000"/>
          </a:xfrm>
          <a:noFill/>
        </p:spPr>
        <p:txBody>
          <a:bodyPr lIns="0" tIns="72000" rIns="0" bIns="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extplatzhalter 38">
            <a:extLst>
              <a:ext uri="{FF2B5EF4-FFF2-40B4-BE49-F238E27FC236}">
                <a16:creationId xmlns:a16="http://schemas.microsoft.com/office/drawing/2014/main" id="{E520BDE9-D2D0-1A77-368A-9B00BAF12B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3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3" name="Gerade Verbindung 45">
            <a:extLst>
              <a:ext uri="{FF2B5EF4-FFF2-40B4-BE49-F238E27FC236}">
                <a16:creationId xmlns:a16="http://schemas.microsoft.com/office/drawing/2014/main" id="{C41D5163-721C-422B-5264-BA23A9120990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AA054B00-D618-E9BF-016D-1E1D6C4FFBD2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96203D-7819-C7AB-D1A7-5F8FF10190D9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109FFF45-1E2E-680A-02A5-9FCD1AB3960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389B3FAB-89C0-24BB-6DC8-3B95B998F4AA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45">
            <a:extLst>
              <a:ext uri="{FF2B5EF4-FFF2-40B4-BE49-F238E27FC236}">
                <a16:creationId xmlns:a16="http://schemas.microsoft.com/office/drawing/2014/main" id="{D04BCC61-5E82-EEB5-2451-CB30F44D8E19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FE2FC740-D262-C3AE-F0DD-C7B9CC4A2339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6E2444B4-26F1-E4E2-141B-F7FE09F4E2B1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D88145AF-B1B1-FA10-C8F8-8E0B18A27D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3594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  <p15:guide id="13" orient="horz" pos="848">
          <p15:clr>
            <a:srgbClr val="F26B43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leer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F4276-48B6-4BEC-9B99-DD5BF75FE16C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sp>
        <p:nvSpPr>
          <p:cNvPr id="9" name="Textplatzhalter 38">
            <a:extLst>
              <a:ext uri="{FF2B5EF4-FFF2-40B4-BE49-F238E27FC236}">
                <a16:creationId xmlns:a16="http://schemas.microsoft.com/office/drawing/2014/main" id="{7617C846-01D8-0093-D548-D6C6F33200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5600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10" name="Gerade Verbindung 45">
            <a:extLst>
              <a:ext uri="{FF2B5EF4-FFF2-40B4-BE49-F238E27FC236}">
                <a16:creationId xmlns:a16="http://schemas.microsoft.com/office/drawing/2014/main" id="{BBBB0BE3-4199-AE84-82CC-72BB0F623C1D}"/>
              </a:ext>
            </a:extLst>
          </p:cNvPr>
          <p:cNvCxnSpPr>
            <a:cxnSpLocks/>
          </p:cNvCxnSpPr>
          <p:nvPr userDrawn="1"/>
        </p:nvCxnSpPr>
        <p:spPr>
          <a:xfrm>
            <a:off x="-66517" y="1352550"/>
            <a:ext cx="0" cy="2338388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32C91E73-900F-7232-2DC0-D12B4FBB334D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18809FC2-F67F-AD6F-DFBB-B00D61D7C59F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0D3758F1-3E4A-E068-7C00-9F6D4B770901}"/>
              </a:ext>
            </a:extLst>
          </p:cNvPr>
          <p:cNvSpPr txBox="1"/>
          <p:nvPr userDrawn="1"/>
        </p:nvSpPr>
        <p:spPr bwMode="auto">
          <a:xfrm rot="16200000">
            <a:off x="-175001" y="2455426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6.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1A11178A-D1DA-D4A2-3B11-D583D618C8A0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45">
            <a:extLst>
              <a:ext uri="{FF2B5EF4-FFF2-40B4-BE49-F238E27FC236}">
                <a16:creationId xmlns:a16="http://schemas.microsoft.com/office/drawing/2014/main" id="{03AB5592-4BC3-94F3-9DB6-D6B87B22025D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03EA5025-D02C-667F-BF13-734C28D3C8AC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2.1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39" name="Gerade Verbindung 39">
            <a:extLst>
              <a:ext uri="{FF2B5EF4-FFF2-40B4-BE49-F238E27FC236}">
                <a16:creationId xmlns:a16="http://schemas.microsoft.com/office/drawing/2014/main" id="{68AF90E9-6A5B-D3E8-8208-4E5EB006BD1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34858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85E71B69-3764-3A16-A503-DE70E8A87ED3}"/>
              </a:ext>
            </a:extLst>
          </p:cNvPr>
          <p:cNvSpPr txBox="1"/>
          <p:nvPr userDrawn="1"/>
        </p:nvSpPr>
        <p:spPr bwMode="auto">
          <a:xfrm rot="16200000">
            <a:off x="-175003" y="112267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9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51" name="Gerade Verbindung 39">
            <a:extLst>
              <a:ext uri="{FF2B5EF4-FFF2-40B4-BE49-F238E27FC236}">
                <a16:creationId xmlns:a16="http://schemas.microsoft.com/office/drawing/2014/main" id="{9569697D-116B-23CF-70A2-4EB35DD47CD0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369093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9">
            <a:extLst>
              <a:ext uri="{FF2B5EF4-FFF2-40B4-BE49-F238E27FC236}">
                <a16:creationId xmlns:a16="http://schemas.microsoft.com/office/drawing/2014/main" id="{B5D958C1-0040-0B38-A606-2F5424BD6690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3943350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45">
            <a:extLst>
              <a:ext uri="{FF2B5EF4-FFF2-40B4-BE49-F238E27FC236}">
                <a16:creationId xmlns:a16="http://schemas.microsoft.com/office/drawing/2014/main" id="{E979B995-EDAA-0FBF-AA87-B52FDC07737B}"/>
              </a:ext>
            </a:extLst>
          </p:cNvPr>
          <p:cNvCxnSpPr>
            <a:cxnSpLocks/>
          </p:cNvCxnSpPr>
          <p:nvPr userDrawn="1"/>
        </p:nvCxnSpPr>
        <p:spPr>
          <a:xfrm>
            <a:off x="-61306" y="4267200"/>
            <a:ext cx="0" cy="233997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2E1CE3F8-9DB6-8302-6FC7-64D73F7EC482}"/>
              </a:ext>
            </a:extLst>
          </p:cNvPr>
          <p:cNvSpPr txBox="1"/>
          <p:nvPr userDrawn="1"/>
        </p:nvSpPr>
        <p:spPr bwMode="auto">
          <a:xfrm rot="16200000">
            <a:off x="-169789" y="5359786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6.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55" name="Gerade Verbindung 39">
            <a:extLst>
              <a:ext uri="{FF2B5EF4-FFF2-40B4-BE49-F238E27FC236}">
                <a16:creationId xmlns:a16="http://schemas.microsoft.com/office/drawing/2014/main" id="{BFE92898-CB50-5068-4477-614F7821651B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4267200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C6793329-A229-5097-444E-F471BF780DD9}"/>
              </a:ext>
            </a:extLst>
          </p:cNvPr>
          <p:cNvSpPr txBox="1"/>
          <p:nvPr userDrawn="1"/>
        </p:nvSpPr>
        <p:spPr bwMode="auto">
          <a:xfrm rot="16200000">
            <a:off x="-170041" y="3746063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  <a:endParaRPr lang="fr" sz="600" b="1">
              <a:solidFill>
                <a:schemeClr val="tx2"/>
              </a:solidFill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1A4992A7-A242-293A-77E0-6720328BC1FF}"/>
              </a:ext>
            </a:extLst>
          </p:cNvPr>
          <p:cNvSpPr txBox="1"/>
          <p:nvPr userDrawn="1"/>
        </p:nvSpPr>
        <p:spPr bwMode="auto">
          <a:xfrm rot="16200000">
            <a:off x="-175004" y="4025190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9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7E85CF06-4348-75D0-03F0-F369F590FA25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3729038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04AFACB5-F257-9435-215B-2599A34B1BF9}"/>
              </a:ext>
            </a:extLst>
          </p:cNvPr>
          <p:cNvSpPr txBox="1"/>
          <p:nvPr userDrawn="1"/>
        </p:nvSpPr>
        <p:spPr bwMode="auto">
          <a:xfrm>
            <a:off x="1934369" y="6866329"/>
            <a:ext cx="34925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0.35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27F333A-1DDE-9F4A-F97B-BB6C9F320AB4}"/>
              </a:ext>
            </a:extLst>
          </p:cNvPr>
          <p:cNvSpPr txBox="1"/>
          <p:nvPr userDrawn="1"/>
        </p:nvSpPr>
        <p:spPr bwMode="auto">
          <a:xfrm>
            <a:off x="4017959" y="6866329"/>
            <a:ext cx="15875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26" name="Gerade Verbindung 39">
            <a:extLst>
              <a:ext uri="{FF2B5EF4-FFF2-40B4-BE49-F238E27FC236}">
                <a16:creationId xmlns:a16="http://schemas.microsoft.com/office/drawing/2014/main" id="{660453A7-A178-4C32-EB1F-21651D74D677}"/>
              </a:ext>
            </a:extLst>
          </p:cNvPr>
          <p:cNvCxnSpPr>
            <a:cxnSpLocks/>
          </p:cNvCxnSpPr>
          <p:nvPr userDrawn="1"/>
        </p:nvCxnSpPr>
        <p:spPr>
          <a:xfrm flipH="1">
            <a:off x="3979068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F1C3508A-D667-9F34-2A9E-DA7D201026AA}"/>
              </a:ext>
            </a:extLst>
          </p:cNvPr>
          <p:cNvCxnSpPr>
            <a:cxnSpLocks/>
          </p:cNvCxnSpPr>
          <p:nvPr userDrawn="1"/>
        </p:nvCxnSpPr>
        <p:spPr>
          <a:xfrm flipH="1">
            <a:off x="423148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9">
            <a:extLst>
              <a:ext uri="{FF2B5EF4-FFF2-40B4-BE49-F238E27FC236}">
                <a16:creationId xmlns:a16="http://schemas.microsoft.com/office/drawing/2014/main" id="{BE20D66F-EA1C-2D91-9765-EC0CDC06864A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052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45">
            <a:extLst>
              <a:ext uri="{FF2B5EF4-FFF2-40B4-BE49-F238E27FC236}">
                <a16:creationId xmlns:a16="http://schemas.microsoft.com/office/drawing/2014/main" id="{C8597CE6-7D5D-B0CC-2A96-C1ECEF71BE2A}"/>
              </a:ext>
            </a:extLst>
          </p:cNvPr>
          <p:cNvCxnSpPr>
            <a:cxnSpLocks/>
          </p:cNvCxnSpPr>
          <p:nvPr userDrawn="1"/>
        </p:nvCxnSpPr>
        <p:spPr>
          <a:xfrm flipH="1">
            <a:off x="8212930" y="6927884"/>
            <a:ext cx="372507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D0442ADF-8170-E8A1-3E4E-D62F00A58400}"/>
              </a:ext>
            </a:extLst>
          </p:cNvPr>
          <p:cNvSpPr txBox="1"/>
          <p:nvPr userDrawn="1"/>
        </p:nvSpPr>
        <p:spPr bwMode="auto">
          <a:xfrm>
            <a:off x="9902032" y="6866328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0.35</a:t>
            </a:r>
          </a:p>
        </p:txBody>
      </p:sp>
      <p:cxnSp>
        <p:nvCxnSpPr>
          <p:cNvPr id="36" name="Gerade Verbindung 39">
            <a:extLst>
              <a:ext uri="{FF2B5EF4-FFF2-40B4-BE49-F238E27FC236}">
                <a16:creationId xmlns:a16="http://schemas.microsoft.com/office/drawing/2014/main" id="{73E4943B-7208-4DDE-552E-8BFA3C13A72F}"/>
              </a:ext>
            </a:extLst>
          </p:cNvPr>
          <p:cNvCxnSpPr>
            <a:cxnSpLocks/>
          </p:cNvCxnSpPr>
          <p:nvPr userDrawn="1"/>
        </p:nvCxnSpPr>
        <p:spPr>
          <a:xfrm flipH="1">
            <a:off x="821293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C1968D8E-A15A-F796-2FC6-CC7AC2B45F6C}"/>
              </a:ext>
            </a:extLst>
          </p:cNvPr>
          <p:cNvSpPr txBox="1"/>
          <p:nvPr userDrawn="1"/>
        </p:nvSpPr>
        <p:spPr bwMode="auto">
          <a:xfrm>
            <a:off x="8014499" y="6866328"/>
            <a:ext cx="160332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38" name="Gerade Verbindung 45">
            <a:extLst>
              <a:ext uri="{FF2B5EF4-FFF2-40B4-BE49-F238E27FC236}">
                <a16:creationId xmlns:a16="http://schemas.microsoft.com/office/drawing/2014/main" id="{8956FE6F-5CE2-43FD-C4E4-2BE23E83F121}"/>
              </a:ext>
            </a:extLst>
          </p:cNvPr>
          <p:cNvCxnSpPr>
            <a:cxnSpLocks/>
          </p:cNvCxnSpPr>
          <p:nvPr userDrawn="1"/>
        </p:nvCxnSpPr>
        <p:spPr>
          <a:xfrm flipH="1">
            <a:off x="4232275" y="6927885"/>
            <a:ext cx="173831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F4F60426-299A-F037-69D0-C00D880E3CD6}"/>
              </a:ext>
            </a:extLst>
          </p:cNvPr>
          <p:cNvSpPr txBox="1"/>
          <p:nvPr userDrawn="1"/>
        </p:nvSpPr>
        <p:spPr bwMode="auto">
          <a:xfrm>
            <a:off x="4907755" y="6866329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4.83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5BA3AA95-F45F-CC80-4CF6-0918D8D96ED1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42" name="Gerade Verbindung 39">
            <a:extLst>
              <a:ext uri="{FF2B5EF4-FFF2-40B4-BE49-F238E27FC236}">
                <a16:creationId xmlns:a16="http://schemas.microsoft.com/office/drawing/2014/main" id="{43A73208-DFDB-7C01-D8C1-1F3239D9F38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9">
            <a:extLst>
              <a:ext uri="{FF2B5EF4-FFF2-40B4-BE49-F238E27FC236}">
                <a16:creationId xmlns:a16="http://schemas.microsoft.com/office/drawing/2014/main" id="{A88C2F50-8FB3-2850-97DA-56461C3820CF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5">
            <a:extLst>
              <a:ext uri="{FF2B5EF4-FFF2-40B4-BE49-F238E27FC236}">
                <a16:creationId xmlns:a16="http://schemas.microsoft.com/office/drawing/2014/main" id="{53862E36-7BE9-B1CE-8333-4E0592CD6297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173831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feld 57">
            <a:extLst>
              <a:ext uri="{FF2B5EF4-FFF2-40B4-BE49-F238E27FC236}">
                <a16:creationId xmlns:a16="http://schemas.microsoft.com/office/drawing/2014/main" id="{BCCF838B-B22F-A949-ACF2-A43D5B38B41E}"/>
              </a:ext>
            </a:extLst>
          </p:cNvPr>
          <p:cNvSpPr txBox="1"/>
          <p:nvPr userDrawn="1"/>
        </p:nvSpPr>
        <p:spPr bwMode="auto">
          <a:xfrm>
            <a:off x="6906419" y="6866328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4.83</a:t>
            </a:r>
          </a:p>
        </p:txBody>
      </p:sp>
      <p:cxnSp>
        <p:nvCxnSpPr>
          <p:cNvPr id="59" name="Gerade Verbindung 39">
            <a:extLst>
              <a:ext uri="{FF2B5EF4-FFF2-40B4-BE49-F238E27FC236}">
                <a16:creationId xmlns:a16="http://schemas.microsoft.com/office/drawing/2014/main" id="{5FE7C76E-F2CE-4BDA-C4F5-305E5C1DA9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9">
            <a:extLst>
              <a:ext uri="{FF2B5EF4-FFF2-40B4-BE49-F238E27FC236}">
                <a16:creationId xmlns:a16="http://schemas.microsoft.com/office/drawing/2014/main" id="{386AE620-F99F-6347-05FD-5D8523A0B9B6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22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2586">
          <p15:clr>
            <a:srgbClr val="F26B43"/>
          </p15:clr>
        </p15:guide>
        <p15:guide id="3" pos="2507">
          <p15:clr>
            <a:srgbClr val="F26B43"/>
          </p15:clr>
        </p15:guide>
        <p15:guide id="4" pos="2666">
          <p15:clr>
            <a:srgbClr val="F26B43"/>
          </p15:clr>
        </p15:guide>
        <p15:guide id="5" pos="5015">
          <p15:clr>
            <a:srgbClr val="F26B43"/>
          </p15:clr>
        </p15:guide>
        <p15:guide id="6" pos="5094">
          <p15:clr>
            <a:srgbClr val="F26B43"/>
          </p15:clr>
        </p15:guide>
        <p15:guide id="7" pos="5174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  <p15:guide id="11" orient="horz" pos="2484">
          <p15:clr>
            <a:srgbClr val="F26B43"/>
          </p15:clr>
        </p15:guide>
        <p15:guide id="12" orient="horz" pos="2325">
          <p15:clr>
            <a:srgbClr val="F26B43"/>
          </p15:clr>
        </p15:guide>
        <p15:guide id="13" orient="horz" pos="848">
          <p15:clr>
            <a:srgbClr val="F26B43"/>
          </p15:clr>
        </p15:guide>
        <p15:guide id="14" orient="horz" pos="2688">
          <p15:clr>
            <a:srgbClr val="F26B43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folie leer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feld 35">
            <a:extLst>
              <a:ext uri="{FF2B5EF4-FFF2-40B4-BE49-F238E27FC236}">
                <a16:creationId xmlns:a16="http://schemas.microsoft.com/office/drawing/2014/main" id="{7DEAD69E-E170-0BBF-6FAD-C4879FB0150D}"/>
              </a:ext>
            </a:extLst>
          </p:cNvPr>
          <p:cNvSpPr txBox="1"/>
          <p:nvPr userDrawn="1"/>
        </p:nvSpPr>
        <p:spPr bwMode="auto">
          <a:xfrm>
            <a:off x="6015037" y="6866329"/>
            <a:ext cx="16192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D5A2FB77-E423-A6F5-D721-E929E25BEE21}"/>
              </a:ext>
            </a:extLst>
          </p:cNvPr>
          <p:cNvSpPr txBox="1"/>
          <p:nvPr userDrawn="1"/>
        </p:nvSpPr>
        <p:spPr bwMode="auto">
          <a:xfrm>
            <a:off x="3036409" y="6864608"/>
            <a:ext cx="147322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3320A7D5-42FD-A90E-5287-CF7919C7D06F}"/>
              </a:ext>
            </a:extLst>
          </p:cNvPr>
          <p:cNvSpPr txBox="1"/>
          <p:nvPr userDrawn="1"/>
        </p:nvSpPr>
        <p:spPr bwMode="auto">
          <a:xfrm>
            <a:off x="8999535" y="6864608"/>
            <a:ext cx="16827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1A0D5-AA80-4A53-91E6-D24777B4A759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27" name="Gerade Verbindung 45">
            <a:extLst>
              <a:ext uri="{FF2B5EF4-FFF2-40B4-BE49-F238E27FC236}">
                <a16:creationId xmlns:a16="http://schemas.microsoft.com/office/drawing/2014/main" id="{29D232C4-802E-4E0F-431B-340FF00FC9D1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273367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5AC7F061-2C38-584F-AA22-347713A064A4}"/>
              </a:ext>
            </a:extLst>
          </p:cNvPr>
          <p:cNvSpPr txBox="1"/>
          <p:nvPr userDrawn="1"/>
        </p:nvSpPr>
        <p:spPr bwMode="auto">
          <a:xfrm>
            <a:off x="1483851" y="6866329"/>
            <a:ext cx="25968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7.59</a:t>
            </a:r>
          </a:p>
        </p:txBody>
      </p:sp>
      <p:cxnSp>
        <p:nvCxnSpPr>
          <p:cNvPr id="38" name="Gerade Verbindung 39">
            <a:extLst>
              <a:ext uri="{FF2B5EF4-FFF2-40B4-BE49-F238E27FC236}">
                <a16:creationId xmlns:a16="http://schemas.microsoft.com/office/drawing/2014/main" id="{AE2FB192-A4FB-7116-53AB-2B2BD8DB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0098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FAA9163F-7ABF-9F85-7B31-1E8EB49907D4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5">
            <a:extLst>
              <a:ext uri="{FF2B5EF4-FFF2-40B4-BE49-F238E27FC236}">
                <a16:creationId xmlns:a16="http://schemas.microsoft.com/office/drawing/2014/main" id="{B3D1C708-3AB3-6A26-0C9B-508A644A1111}"/>
              </a:ext>
            </a:extLst>
          </p:cNvPr>
          <p:cNvCxnSpPr>
            <a:cxnSpLocks/>
          </p:cNvCxnSpPr>
          <p:nvPr userDrawn="1"/>
        </p:nvCxnSpPr>
        <p:spPr>
          <a:xfrm flipH="1">
            <a:off x="3239293" y="6926163"/>
            <a:ext cx="273129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95705B41-CD66-6797-6C3D-8B441A23F427}"/>
              </a:ext>
            </a:extLst>
          </p:cNvPr>
          <p:cNvSpPr txBox="1"/>
          <p:nvPr userDrawn="1"/>
        </p:nvSpPr>
        <p:spPr bwMode="auto">
          <a:xfrm>
            <a:off x="4466163" y="6866329"/>
            <a:ext cx="25968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7.59</a:t>
            </a:r>
          </a:p>
        </p:txBody>
      </p:sp>
      <p:cxnSp>
        <p:nvCxnSpPr>
          <p:cNvPr id="51" name="Gerade Verbindung 45">
            <a:extLst>
              <a:ext uri="{FF2B5EF4-FFF2-40B4-BE49-F238E27FC236}">
                <a16:creationId xmlns:a16="http://schemas.microsoft.com/office/drawing/2014/main" id="{17F1A517-19F0-A6BB-28BD-10690C57C740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2730501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C2033E48-3A07-7156-E6BA-D4D3CF870717}"/>
              </a:ext>
            </a:extLst>
          </p:cNvPr>
          <p:cNvSpPr txBox="1"/>
          <p:nvPr userDrawn="1"/>
        </p:nvSpPr>
        <p:spPr bwMode="auto">
          <a:xfrm>
            <a:off x="7457945" y="6866329"/>
            <a:ext cx="25968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7.59</a:t>
            </a:r>
          </a:p>
        </p:txBody>
      </p:sp>
      <p:cxnSp>
        <p:nvCxnSpPr>
          <p:cNvPr id="53" name="Gerade Verbindung 45">
            <a:extLst>
              <a:ext uri="{FF2B5EF4-FFF2-40B4-BE49-F238E27FC236}">
                <a16:creationId xmlns:a16="http://schemas.microsoft.com/office/drawing/2014/main" id="{B12C57B8-EB5E-F155-3253-65E71E8A05D8}"/>
              </a:ext>
            </a:extLst>
          </p:cNvPr>
          <p:cNvCxnSpPr>
            <a:cxnSpLocks/>
          </p:cNvCxnSpPr>
          <p:nvPr userDrawn="1"/>
        </p:nvCxnSpPr>
        <p:spPr>
          <a:xfrm flipH="1">
            <a:off x="9205913" y="6926163"/>
            <a:ext cx="273208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5D213EFE-750F-8C83-1751-AE66136CF9C0}"/>
              </a:ext>
            </a:extLst>
          </p:cNvPr>
          <p:cNvSpPr txBox="1"/>
          <p:nvPr userDrawn="1"/>
        </p:nvSpPr>
        <p:spPr bwMode="auto">
          <a:xfrm>
            <a:off x="10448463" y="6864608"/>
            <a:ext cx="25968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7.59</a:t>
            </a:r>
          </a:p>
        </p:txBody>
      </p:sp>
      <p:cxnSp>
        <p:nvCxnSpPr>
          <p:cNvPr id="55" name="Gerade Verbindung 39">
            <a:extLst>
              <a:ext uri="{FF2B5EF4-FFF2-40B4-BE49-F238E27FC236}">
                <a16:creationId xmlns:a16="http://schemas.microsoft.com/office/drawing/2014/main" id="{D5217E38-18F6-5A29-3369-F0F558820986}"/>
              </a:ext>
            </a:extLst>
          </p:cNvPr>
          <p:cNvCxnSpPr>
            <a:cxnSpLocks/>
          </p:cNvCxnSpPr>
          <p:nvPr userDrawn="1"/>
        </p:nvCxnSpPr>
        <p:spPr>
          <a:xfrm flipH="1">
            <a:off x="9205913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9">
            <a:extLst>
              <a:ext uri="{FF2B5EF4-FFF2-40B4-BE49-F238E27FC236}">
                <a16:creationId xmlns:a16="http://schemas.microsoft.com/office/drawing/2014/main" id="{6E463978-7B1E-769B-1B34-28A3551688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9535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9">
            <a:extLst>
              <a:ext uri="{FF2B5EF4-FFF2-40B4-BE49-F238E27FC236}">
                <a16:creationId xmlns:a16="http://schemas.microsoft.com/office/drawing/2014/main" id="{B3FE76E2-56F8-9A29-BF64-83CCB3F483E2}"/>
              </a:ext>
            </a:extLst>
          </p:cNvPr>
          <p:cNvCxnSpPr>
            <a:cxnSpLocks/>
          </p:cNvCxnSpPr>
          <p:nvPr userDrawn="1"/>
        </p:nvCxnSpPr>
        <p:spPr>
          <a:xfrm flipH="1">
            <a:off x="2981324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9">
            <a:extLst>
              <a:ext uri="{FF2B5EF4-FFF2-40B4-BE49-F238E27FC236}">
                <a16:creationId xmlns:a16="http://schemas.microsoft.com/office/drawing/2014/main" id="{7486699F-E3F8-8CAF-FD98-B4B12A605455}"/>
              </a:ext>
            </a:extLst>
          </p:cNvPr>
          <p:cNvCxnSpPr>
            <a:cxnSpLocks/>
          </p:cNvCxnSpPr>
          <p:nvPr userDrawn="1"/>
        </p:nvCxnSpPr>
        <p:spPr>
          <a:xfrm flipH="1">
            <a:off x="3239293" y="6890163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38">
            <a:extLst>
              <a:ext uri="{FF2B5EF4-FFF2-40B4-BE49-F238E27FC236}">
                <a16:creationId xmlns:a16="http://schemas.microsoft.com/office/drawing/2014/main" id="{6F7EC060-5F27-0290-A4AD-B14EFC1B66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5600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10" name="Gerade Verbindung 45">
            <a:extLst>
              <a:ext uri="{FF2B5EF4-FFF2-40B4-BE49-F238E27FC236}">
                <a16:creationId xmlns:a16="http://schemas.microsoft.com/office/drawing/2014/main" id="{A087614D-39D6-B0E3-1602-D8D094600E40}"/>
              </a:ext>
            </a:extLst>
          </p:cNvPr>
          <p:cNvCxnSpPr>
            <a:cxnSpLocks/>
          </p:cNvCxnSpPr>
          <p:nvPr userDrawn="1"/>
        </p:nvCxnSpPr>
        <p:spPr>
          <a:xfrm>
            <a:off x="-66517" y="1352550"/>
            <a:ext cx="0" cy="2338388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B014EA69-B451-D0C4-41D8-93227FF145F7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9">
            <a:extLst>
              <a:ext uri="{FF2B5EF4-FFF2-40B4-BE49-F238E27FC236}">
                <a16:creationId xmlns:a16="http://schemas.microsoft.com/office/drawing/2014/main" id="{0ACF6573-4B06-E7D8-2F92-120059ECE2D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A0205586-58FB-55A7-08DA-7818209E4402}"/>
              </a:ext>
            </a:extLst>
          </p:cNvPr>
          <p:cNvSpPr txBox="1"/>
          <p:nvPr userDrawn="1"/>
        </p:nvSpPr>
        <p:spPr bwMode="auto">
          <a:xfrm rot="16200000">
            <a:off x="-175001" y="2455426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5" name="Gerade Verbindung 39">
            <a:extLst>
              <a:ext uri="{FF2B5EF4-FFF2-40B4-BE49-F238E27FC236}">
                <a16:creationId xmlns:a16="http://schemas.microsoft.com/office/drawing/2014/main" id="{3E4B91B2-A05B-AAB9-F57B-EA0A507C8BD9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45">
            <a:extLst>
              <a:ext uri="{FF2B5EF4-FFF2-40B4-BE49-F238E27FC236}">
                <a16:creationId xmlns:a16="http://schemas.microsoft.com/office/drawing/2014/main" id="{6BEB7293-D089-DD3C-4D75-C9E88FEB3509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88A2E02E-D389-6513-D775-5E6F01F4B701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32" name="Gerade Verbindung 39">
            <a:extLst>
              <a:ext uri="{FF2B5EF4-FFF2-40B4-BE49-F238E27FC236}">
                <a16:creationId xmlns:a16="http://schemas.microsoft.com/office/drawing/2014/main" id="{8BE7811A-D803-2B60-0DA3-2410BC07C2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34858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085ACDD1-1A40-68F4-B135-C9EC6C6FECFC}"/>
              </a:ext>
            </a:extLst>
          </p:cNvPr>
          <p:cNvSpPr txBox="1"/>
          <p:nvPr userDrawn="1"/>
        </p:nvSpPr>
        <p:spPr bwMode="auto">
          <a:xfrm rot="16200000">
            <a:off x="-175003" y="112267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9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34" name="Gerade Verbindung 39">
            <a:extLst>
              <a:ext uri="{FF2B5EF4-FFF2-40B4-BE49-F238E27FC236}">
                <a16:creationId xmlns:a16="http://schemas.microsoft.com/office/drawing/2014/main" id="{ABFD2C05-49A4-AB10-C5BD-16F939704F3F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369093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9">
            <a:extLst>
              <a:ext uri="{FF2B5EF4-FFF2-40B4-BE49-F238E27FC236}">
                <a16:creationId xmlns:a16="http://schemas.microsoft.com/office/drawing/2014/main" id="{6A485F16-3733-8509-7931-DBB273949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3943350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45">
            <a:extLst>
              <a:ext uri="{FF2B5EF4-FFF2-40B4-BE49-F238E27FC236}">
                <a16:creationId xmlns:a16="http://schemas.microsoft.com/office/drawing/2014/main" id="{35379FCD-C6D3-3B59-20A8-9E6583C07FF1}"/>
              </a:ext>
            </a:extLst>
          </p:cNvPr>
          <p:cNvCxnSpPr>
            <a:cxnSpLocks/>
          </p:cNvCxnSpPr>
          <p:nvPr userDrawn="1"/>
        </p:nvCxnSpPr>
        <p:spPr>
          <a:xfrm>
            <a:off x="-61306" y="4267200"/>
            <a:ext cx="0" cy="233997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A7CB8871-9B6E-E6F9-8851-A8F4EBFF70D6}"/>
              </a:ext>
            </a:extLst>
          </p:cNvPr>
          <p:cNvSpPr txBox="1"/>
          <p:nvPr userDrawn="1"/>
        </p:nvSpPr>
        <p:spPr bwMode="auto">
          <a:xfrm rot="16200000">
            <a:off x="-169789" y="5359786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43" name="Gerade Verbindung 39">
            <a:extLst>
              <a:ext uri="{FF2B5EF4-FFF2-40B4-BE49-F238E27FC236}">
                <a16:creationId xmlns:a16="http://schemas.microsoft.com/office/drawing/2014/main" id="{09F0080F-FA5C-609A-4A2E-8B2B3BDD2BB6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4267200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54D9D591-02EC-29D7-6834-86723B7AEE94}"/>
              </a:ext>
            </a:extLst>
          </p:cNvPr>
          <p:cNvSpPr txBox="1"/>
          <p:nvPr userDrawn="1"/>
        </p:nvSpPr>
        <p:spPr bwMode="auto">
          <a:xfrm rot="16200000">
            <a:off x="-170041" y="3746063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BC22AA9-4C00-FAD1-7CF0-4F251865847B}"/>
              </a:ext>
            </a:extLst>
          </p:cNvPr>
          <p:cNvSpPr txBox="1"/>
          <p:nvPr userDrawn="1"/>
        </p:nvSpPr>
        <p:spPr bwMode="auto">
          <a:xfrm rot="16200000">
            <a:off x="-175004" y="4025190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9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46" name="Gerade Verbindung 39">
            <a:extLst>
              <a:ext uri="{FF2B5EF4-FFF2-40B4-BE49-F238E27FC236}">
                <a16:creationId xmlns:a16="http://schemas.microsoft.com/office/drawing/2014/main" id="{3F3A7F64-C06A-BFAA-B343-F87FFC2F8F80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7727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1959">
          <p15:clr>
            <a:srgbClr val="F26B43"/>
          </p15:clr>
        </p15:guide>
        <p15:guide id="3" pos="1880">
          <p15:clr>
            <a:srgbClr val="F26B43"/>
          </p15:clr>
        </p15:guide>
        <p15:guide id="4" pos="2040">
          <p15:clr>
            <a:srgbClr val="F26B43"/>
          </p15:clr>
        </p15:guide>
        <p15:guide id="5" pos="3761">
          <p15:clr>
            <a:srgbClr val="F26B43"/>
          </p15:clr>
        </p15:guide>
        <p15:guide id="6" pos="5799">
          <p15:clr>
            <a:srgbClr val="F26B43"/>
          </p15:clr>
        </p15:guide>
        <p15:guide id="7" pos="5640">
          <p15:clr>
            <a:srgbClr val="F26B43"/>
          </p15:clr>
        </p15:guide>
        <p15:guide id="8" pos="3920">
          <p15:clr>
            <a:srgbClr val="F26B43"/>
          </p15:clr>
        </p15:guide>
        <p15:guide id="9" pos="5720">
          <p15:clr>
            <a:srgbClr val="F26B43"/>
          </p15:clr>
        </p15:guide>
        <p15:guide id="10" pos="3840">
          <p15:clr>
            <a:srgbClr val="F26B43"/>
          </p15:clr>
        </p15:guide>
        <p15:guide id="11" orient="horz" pos="2484">
          <p15:clr>
            <a:srgbClr val="F26B43"/>
          </p15:clr>
        </p15:guide>
        <p15:guide id="12" orient="horz" pos="2325">
          <p15:clr>
            <a:srgbClr val="F26B43"/>
          </p15:clr>
        </p15:guide>
        <p15:guide id="13" orient="horz" pos="2688">
          <p15:clr>
            <a:srgbClr val="F26B43"/>
          </p15:clr>
        </p15:guide>
        <p15:guide id="14" orient="horz" pos="848">
          <p15:clr>
            <a:srgbClr val="F26B43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le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F36EF38-DFC8-3A1C-37AF-C23CEA3A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696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11" imgH="411" progId="TCLayout.ActiveDocument.1">
                  <p:embed/>
                </p:oleObj>
              </mc:Choice>
              <mc:Fallback>
                <p:oleObj name="Diapositive think-cell" r:id="rId3" imgW="411" imgH="4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36EF38-DFC8-3A1C-37AF-C23CEA3A98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16F8FFDC-7033-96FF-A4E5-C99A269F67BE}"/>
              </a:ext>
            </a:extLst>
          </p:cNvPr>
          <p:cNvSpPr/>
          <p:nvPr userDrawn="1"/>
        </p:nvSpPr>
        <p:spPr>
          <a:xfrm>
            <a:off x="10652760" y="6631350"/>
            <a:ext cx="1539240" cy="2266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 rtl="0"/>
            <a:endParaRPr lang="de-CH" sz="1600" noProof="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CE7A2E-1059-4008-9271-87F23E0CBF99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0825"/>
            <a:ext cx="0" cy="63547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32712" y="3755589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323074A3-87E9-9292-FBEF-FC6D7670EA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250825"/>
            <a:ext cx="11687175" cy="6354000"/>
          </a:xfrm>
          <a:solidFill>
            <a:schemeClr val="bg1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60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Text</a:t>
            </a:r>
          </a:p>
        </p:txBody>
      </p:sp>
      <p:cxnSp>
        <p:nvCxnSpPr>
          <p:cNvPr id="7" name="Gerade Verbindung 45">
            <a:extLst>
              <a:ext uri="{FF2B5EF4-FFF2-40B4-BE49-F238E27FC236}">
                <a16:creationId xmlns:a16="http://schemas.microsoft.com/office/drawing/2014/main" id="{6D51F72B-B708-460D-1DA6-3C0F1D09A054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057"/>
            <a:ext cx="1168717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386C8B1-3429-9715-D6E3-E828901E7A1A}"/>
              </a:ext>
            </a:extLst>
          </p:cNvPr>
          <p:cNvSpPr txBox="1"/>
          <p:nvPr userDrawn="1"/>
        </p:nvSpPr>
        <p:spPr bwMode="auto">
          <a:xfrm>
            <a:off x="5932810" y="6866329"/>
            <a:ext cx="33464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 32.46 </a:t>
            </a: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22002EA2-DB18-188A-D164-9CEA33F8D2C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9">
            <a:extLst>
              <a:ext uri="{FF2B5EF4-FFF2-40B4-BE49-F238E27FC236}">
                <a16:creationId xmlns:a16="http://schemas.microsoft.com/office/drawing/2014/main" id="{BDE92997-A549-14F9-1719-22296669EEB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>
            <a:extLst>
              <a:ext uri="{FF2B5EF4-FFF2-40B4-BE49-F238E27FC236}">
                <a16:creationId xmlns:a16="http://schemas.microsoft.com/office/drawing/2014/main" id="{2A3C4A72-3A81-7453-0554-2E26B5DA06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7599" y="6631351"/>
            <a:ext cx="1258349" cy="21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945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458A0-4B76-448F-8669-E67D95F3969E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0825"/>
            <a:ext cx="0" cy="6354763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32712" y="3755589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45">
            <a:extLst>
              <a:ext uri="{FF2B5EF4-FFF2-40B4-BE49-F238E27FC236}">
                <a16:creationId xmlns:a16="http://schemas.microsoft.com/office/drawing/2014/main" id="{FE5629BF-D904-9889-CD18-6E2386B7DCB1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057"/>
            <a:ext cx="1168717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5EA02596-D9C2-D380-0980-EADE8EEF5C9F}"/>
              </a:ext>
            </a:extLst>
          </p:cNvPr>
          <p:cNvSpPr txBox="1"/>
          <p:nvPr userDrawn="1"/>
        </p:nvSpPr>
        <p:spPr bwMode="auto">
          <a:xfrm>
            <a:off x="5932810" y="6866329"/>
            <a:ext cx="33464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 32.46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323074A3-87E9-9292-FBEF-FC6D7670EA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250825"/>
            <a:ext cx="11687175" cy="63540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6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Text</a:t>
            </a:r>
          </a:p>
        </p:txBody>
      </p:sp>
      <p:cxnSp>
        <p:nvCxnSpPr>
          <p:cNvPr id="7" name="Gerade Verbindung 39">
            <a:extLst>
              <a:ext uri="{FF2B5EF4-FFF2-40B4-BE49-F238E27FC236}">
                <a16:creationId xmlns:a16="http://schemas.microsoft.com/office/drawing/2014/main" id="{AF341E63-88CA-7B5D-D44D-6240E5B7718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F5CD703E-175E-CBBA-9FCE-815AABD73D7D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2348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B2789607-9287-5C9B-CE36-ACEEDA3AB0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20800" y="252313"/>
            <a:ext cx="5715000" cy="6354862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3284D2-9340-4A24-AB84-B101213F9408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131A203E-14AC-2C80-11EB-A03E08CA6D92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78C64B3C-070B-EE83-61CB-6504AF78493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92F24D8-343C-65D3-F8F0-4215B926B65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2.15</a:t>
            </a:r>
            <a:endParaRPr lang="fr" sz="600" b="1">
              <a:solidFill>
                <a:schemeClr val="tx2"/>
              </a:solidFill>
            </a:endParaRP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85EE7C-4649-BB57-8E7B-FD5955CE8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026000"/>
            <a:ext cx="5718174" cy="5580000"/>
          </a:xfrm>
          <a:noFill/>
        </p:spPr>
        <p:txBody>
          <a:bodyPr lIns="0" tIns="72000" rIns="0" bIns="0" numCol="1" spcCol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5716800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17" name="Gerade Verbindung 45">
            <a:extLst>
              <a:ext uri="{FF2B5EF4-FFF2-40B4-BE49-F238E27FC236}">
                <a16:creationId xmlns:a16="http://schemas.microsoft.com/office/drawing/2014/main" id="{CE83BA2E-23E8-73A2-851B-C8585D69EE19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id="{33FDB211-AA02-713D-2749-539004E7F190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9BA584F-19EB-1675-6360-B3CDDCEE1F8F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3D1F4C43-F5D7-BDE6-61BB-A402209E2E9F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9">
            <a:extLst>
              <a:ext uri="{FF2B5EF4-FFF2-40B4-BE49-F238E27FC236}">
                <a16:creationId xmlns:a16="http://schemas.microsoft.com/office/drawing/2014/main" id="{F1B57944-82D4-FC70-E961-A945C8A13D0E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45">
            <a:extLst>
              <a:ext uri="{FF2B5EF4-FFF2-40B4-BE49-F238E27FC236}">
                <a16:creationId xmlns:a16="http://schemas.microsoft.com/office/drawing/2014/main" id="{4F1A3AA5-CE4E-33EA-4727-FE4754B4D633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A6DC47C8-25A2-BA51-15EF-2359D600EDB0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31" name="Gerade Verbindung 39">
            <a:extLst>
              <a:ext uri="{FF2B5EF4-FFF2-40B4-BE49-F238E27FC236}">
                <a16:creationId xmlns:a16="http://schemas.microsoft.com/office/drawing/2014/main" id="{1BCF0976-F204-55CE-6AC9-2D6206F379E0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9">
            <a:extLst>
              <a:ext uri="{FF2B5EF4-FFF2-40B4-BE49-F238E27FC236}">
                <a16:creationId xmlns:a16="http://schemas.microsoft.com/office/drawing/2014/main" id="{9C14F4A9-2BF9-38D7-85CD-73C43243B27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948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3840">
          <p15:clr>
            <a:srgbClr val="F26B43"/>
          </p15:clr>
        </p15:guide>
        <p15:guide id="3" pos="3761">
          <p15:clr>
            <a:srgbClr val="F26B43"/>
          </p15:clr>
        </p15:guide>
        <p15:guide id="4" pos="3920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B2789607-9287-5C9B-CE36-ACEEDA3AB0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5" y="252313"/>
            <a:ext cx="5718175" cy="6353275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628A5-DFA9-4D13-8C30-9909E98FBD08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131A203E-14AC-2C80-11EB-A03E08CA6D92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78C64B3C-070B-EE83-61CB-6504AF78493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92F24D8-343C-65D3-F8F0-4215B926B65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2.15</a:t>
            </a:r>
            <a:endParaRPr lang="fr" sz="600" b="1">
              <a:solidFill>
                <a:schemeClr val="tx2"/>
              </a:solidFill>
            </a:endParaRP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85EE7C-4649-BB57-8E7B-FD5955CE8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0800" y="1026000"/>
            <a:ext cx="5715000" cy="5580000"/>
          </a:xfrm>
          <a:noFill/>
        </p:spPr>
        <p:txBody>
          <a:bodyPr lIns="0" tIns="72000" rIns="0" bIns="0" numCol="1" spcCol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0800" y="250824"/>
            <a:ext cx="5715000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27" name="Gerade Verbindung 45">
            <a:extLst>
              <a:ext uri="{FF2B5EF4-FFF2-40B4-BE49-F238E27FC236}">
                <a16:creationId xmlns:a16="http://schemas.microsoft.com/office/drawing/2014/main" id="{B9F4D9AE-E368-7818-15FB-5743DFA7BFD3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DB6C5FC7-D7CB-2045-CABD-1152CD2433EC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DA0D42A-3BEE-D2DB-E67E-63AC50F62C6F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31" name="Gerade Verbindung 39">
            <a:extLst>
              <a:ext uri="{FF2B5EF4-FFF2-40B4-BE49-F238E27FC236}">
                <a16:creationId xmlns:a16="http://schemas.microsoft.com/office/drawing/2014/main" id="{1B53B69E-3EEF-3BDD-12E3-66B5C66118F3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9">
            <a:extLst>
              <a:ext uri="{FF2B5EF4-FFF2-40B4-BE49-F238E27FC236}">
                <a16:creationId xmlns:a16="http://schemas.microsoft.com/office/drawing/2014/main" id="{9B1B7A0A-A039-30D6-B0D8-9A80238EB107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45">
            <a:extLst>
              <a:ext uri="{FF2B5EF4-FFF2-40B4-BE49-F238E27FC236}">
                <a16:creationId xmlns:a16="http://schemas.microsoft.com/office/drawing/2014/main" id="{5D457AEB-9CA6-E9FF-648F-4FD3A1C3E76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B95BB51D-B8E4-5756-1D4E-15303600DF97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37" name="Gerade Verbindung 39">
            <a:extLst>
              <a:ext uri="{FF2B5EF4-FFF2-40B4-BE49-F238E27FC236}">
                <a16:creationId xmlns:a16="http://schemas.microsoft.com/office/drawing/2014/main" id="{36846F53-0C53-F873-4406-2F5BEA7EA9C4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9">
            <a:extLst>
              <a:ext uri="{FF2B5EF4-FFF2-40B4-BE49-F238E27FC236}">
                <a16:creationId xmlns:a16="http://schemas.microsoft.com/office/drawing/2014/main" id="{4239B08F-EBD2-F1AE-1BCD-C56DCFC15ABC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485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3840">
          <p15:clr>
            <a:srgbClr val="F26B43"/>
          </p15:clr>
        </p15:guide>
        <p15:guide id="3" pos="3761">
          <p15:clr>
            <a:srgbClr val="F26B43"/>
          </p15:clr>
        </p15:guide>
        <p15:guide id="4" pos="3920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725914"/>
              </p:ext>
            </p:extLst>
          </p:nvPr>
        </p:nvGraphicFramePr>
        <p:xfrm>
          <a:off x="1959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F9D67F-84D0-4FB0-BBB2-BCD64EBEAD1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Clr>
                <a:schemeClr val="accent1"/>
              </a:buClr>
              <a:buFontTx/>
              <a:buNone/>
            </a:pPr>
            <a:endParaRPr lang="de-DE" sz="26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22215" y="1263600"/>
            <a:ext cx="10855385" cy="308012"/>
          </a:xfrm>
        </p:spPr>
        <p:txBody>
          <a:bodyPr/>
          <a:lstStyle>
            <a:lvl1pPr>
              <a:buNone/>
              <a:defRPr sz="20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723303" y="357166"/>
            <a:ext cx="10845801" cy="892800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22215" y="6145200"/>
            <a:ext cx="10811077" cy="216000"/>
          </a:xfrm>
        </p:spPr>
        <p:txBody>
          <a:bodyPr tIns="36000" bIns="3600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>
                <a:latin typeface="Arial" pitchFamily="34" charset="0"/>
                <a:cs typeface="Arial" pitchFamily="34" charset="0"/>
              </a:defRPr>
            </a:lvl1pPr>
            <a:lvl2pPr>
              <a:buNone/>
              <a:defRPr sz="1050"/>
            </a:lvl2pPr>
            <a:lvl3pPr>
              <a:buNone/>
              <a:defRPr sz="1050"/>
            </a:lvl3pPr>
            <a:lvl4pPr>
              <a:buNone/>
              <a:defRPr sz="1050"/>
            </a:lvl4pPr>
            <a:lvl5pPr>
              <a:buNone/>
              <a:defRPr sz="1050"/>
            </a:lvl5pPr>
          </a:lstStyle>
          <a:p>
            <a:pPr lvl="0"/>
            <a:r>
              <a:rPr lang="de-DE" err="1"/>
              <a:t>Fussnote</a:t>
            </a:r>
            <a:endParaRPr lang="de-DE"/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e-CH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CH">
                <a:solidFill>
                  <a:srgbClr val="000000">
                    <a:tint val="75000"/>
                  </a:srgbClr>
                </a:solidFill>
              </a:rPr>
              <a:t>|  Seite </a:t>
            </a:r>
            <a:fld id="{E81B8D95-AA0C-433D-B79A-00E7CF97219C}" type="slidenum">
              <a:rPr lang="de-CH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CH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18"/>
          </p:nvPr>
        </p:nvSpPr>
        <p:spPr>
          <a:xfrm>
            <a:off x="1603938" y="6526800"/>
            <a:ext cx="7355077" cy="27000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>
              <a:defRPr lang="de-CH" sz="8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CH">
                <a:solidFill>
                  <a:srgbClr val="000000">
                    <a:tint val="75000"/>
                  </a:srgbClr>
                </a:solidFill>
              </a:rPr>
              <a:t>Coopérative Migros Genève  |  Conseil d'administration 2 décembre 2021</a:t>
            </a:r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91280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B2789607-9287-5C9B-CE36-ACEEDA3AB0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414" y="250825"/>
            <a:ext cx="3725070" cy="6354000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3761C-2C2D-4567-A2ED-62AB8044A710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131A203E-14AC-2C80-11EB-A03E08CA6D92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78C64B3C-070B-EE83-61CB-6504AF78493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92F24D8-343C-65D3-F8F0-4215B926B65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85EE7C-4649-BB57-8E7B-FD5955CE8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30000" y="1026000"/>
            <a:ext cx="3726000" cy="5580000"/>
          </a:xfrm>
          <a:noFill/>
        </p:spPr>
        <p:txBody>
          <a:bodyPr lIns="0" tIns="72000" rIns="0" bIns="0" numCol="1" spcCol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0000" y="250824"/>
            <a:ext cx="7704000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DAFD72C8-F92E-6164-E3FC-4F055C73E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3729038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78EC5440-31FB-F091-CCAF-6AC02ADE2095}"/>
              </a:ext>
            </a:extLst>
          </p:cNvPr>
          <p:cNvSpPr txBox="1"/>
          <p:nvPr userDrawn="1"/>
        </p:nvSpPr>
        <p:spPr bwMode="auto">
          <a:xfrm>
            <a:off x="1934369" y="6866329"/>
            <a:ext cx="34925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0.35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E23E12F-798F-718A-58BB-EC3689AD3698}"/>
              </a:ext>
            </a:extLst>
          </p:cNvPr>
          <p:cNvSpPr txBox="1"/>
          <p:nvPr userDrawn="1"/>
        </p:nvSpPr>
        <p:spPr bwMode="auto">
          <a:xfrm>
            <a:off x="4017959" y="6866329"/>
            <a:ext cx="15875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CE08D482-6C3E-BEE1-D385-198B5386E525}"/>
              </a:ext>
            </a:extLst>
          </p:cNvPr>
          <p:cNvCxnSpPr>
            <a:cxnSpLocks/>
          </p:cNvCxnSpPr>
          <p:nvPr userDrawn="1"/>
        </p:nvCxnSpPr>
        <p:spPr>
          <a:xfrm flipH="1">
            <a:off x="3979068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B13C5498-52EF-166E-7B30-F75F84027B17}"/>
              </a:ext>
            </a:extLst>
          </p:cNvPr>
          <p:cNvCxnSpPr>
            <a:cxnSpLocks/>
          </p:cNvCxnSpPr>
          <p:nvPr userDrawn="1"/>
        </p:nvCxnSpPr>
        <p:spPr>
          <a:xfrm flipH="1">
            <a:off x="423148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5">
            <a:extLst>
              <a:ext uri="{FF2B5EF4-FFF2-40B4-BE49-F238E27FC236}">
                <a16:creationId xmlns:a16="http://schemas.microsoft.com/office/drawing/2014/main" id="{7E9D8F06-206F-7C80-E116-A63BE728D3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8000" y="1026000"/>
            <a:ext cx="3726000" cy="5580000"/>
          </a:xfrm>
          <a:noFill/>
        </p:spPr>
        <p:txBody>
          <a:bodyPr lIns="0" tIns="72000" rIns="0" bIns="0" numCol="1" spcCol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30" name="Gerade Verbindung 39">
            <a:extLst>
              <a:ext uri="{FF2B5EF4-FFF2-40B4-BE49-F238E27FC236}">
                <a16:creationId xmlns:a16="http://schemas.microsoft.com/office/drawing/2014/main" id="{5D8CB041-6057-4618-7378-870935128D50}"/>
              </a:ext>
            </a:extLst>
          </p:cNvPr>
          <p:cNvCxnSpPr>
            <a:cxnSpLocks/>
          </p:cNvCxnSpPr>
          <p:nvPr userDrawn="1"/>
        </p:nvCxnSpPr>
        <p:spPr>
          <a:xfrm flipH="1">
            <a:off x="796052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45">
            <a:extLst>
              <a:ext uri="{FF2B5EF4-FFF2-40B4-BE49-F238E27FC236}">
                <a16:creationId xmlns:a16="http://schemas.microsoft.com/office/drawing/2014/main" id="{A7CF4366-4B74-0635-B2D2-450B7962B3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212930" y="6927884"/>
            <a:ext cx="372507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170632AB-59D7-8A7E-B05B-3D60B8556893}"/>
              </a:ext>
            </a:extLst>
          </p:cNvPr>
          <p:cNvSpPr txBox="1"/>
          <p:nvPr userDrawn="1"/>
        </p:nvSpPr>
        <p:spPr bwMode="auto">
          <a:xfrm>
            <a:off x="9902032" y="6866328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0.35</a:t>
            </a:r>
          </a:p>
        </p:txBody>
      </p:sp>
      <p:cxnSp>
        <p:nvCxnSpPr>
          <p:cNvPr id="33" name="Gerade Verbindung 39">
            <a:extLst>
              <a:ext uri="{FF2B5EF4-FFF2-40B4-BE49-F238E27FC236}">
                <a16:creationId xmlns:a16="http://schemas.microsoft.com/office/drawing/2014/main" id="{C31B7127-5DC9-92CA-A5EB-A027C5DF8B57}"/>
              </a:ext>
            </a:extLst>
          </p:cNvPr>
          <p:cNvCxnSpPr>
            <a:cxnSpLocks/>
          </p:cNvCxnSpPr>
          <p:nvPr userDrawn="1"/>
        </p:nvCxnSpPr>
        <p:spPr>
          <a:xfrm flipH="1">
            <a:off x="821293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51CDDD18-D8CB-0672-41DC-A0ABAC964694}"/>
              </a:ext>
            </a:extLst>
          </p:cNvPr>
          <p:cNvSpPr txBox="1"/>
          <p:nvPr userDrawn="1"/>
        </p:nvSpPr>
        <p:spPr bwMode="auto">
          <a:xfrm>
            <a:off x="8014499" y="6866328"/>
            <a:ext cx="160332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40" name="Gerade Verbindung 45">
            <a:extLst>
              <a:ext uri="{FF2B5EF4-FFF2-40B4-BE49-F238E27FC236}">
                <a16:creationId xmlns:a16="http://schemas.microsoft.com/office/drawing/2014/main" id="{D13A4BD4-ACBE-40C1-8A17-35212A6B5482}"/>
              </a:ext>
            </a:extLst>
          </p:cNvPr>
          <p:cNvCxnSpPr>
            <a:cxnSpLocks/>
          </p:cNvCxnSpPr>
          <p:nvPr userDrawn="1"/>
        </p:nvCxnSpPr>
        <p:spPr>
          <a:xfrm flipH="1">
            <a:off x="4232275" y="6927885"/>
            <a:ext cx="173831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5147AFFD-CC80-23BE-207E-BC365E62BB3A}"/>
              </a:ext>
            </a:extLst>
          </p:cNvPr>
          <p:cNvSpPr txBox="1"/>
          <p:nvPr userDrawn="1"/>
        </p:nvSpPr>
        <p:spPr bwMode="auto">
          <a:xfrm>
            <a:off x="4907755" y="6866329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4.83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454922F-EFA6-FA94-C604-797692CA6D50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45" name="Gerade Verbindung 39">
            <a:extLst>
              <a:ext uri="{FF2B5EF4-FFF2-40B4-BE49-F238E27FC236}">
                <a16:creationId xmlns:a16="http://schemas.microsoft.com/office/drawing/2014/main" id="{AFF92B47-531A-E0FD-CE06-F29E78C6643A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9">
            <a:extLst>
              <a:ext uri="{FF2B5EF4-FFF2-40B4-BE49-F238E27FC236}">
                <a16:creationId xmlns:a16="http://schemas.microsoft.com/office/drawing/2014/main" id="{ABB3ED50-2E7A-D292-6929-FA2826A73C82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45">
            <a:extLst>
              <a:ext uri="{FF2B5EF4-FFF2-40B4-BE49-F238E27FC236}">
                <a16:creationId xmlns:a16="http://schemas.microsoft.com/office/drawing/2014/main" id="{4DA75B1A-020E-EAA5-7396-0C19AD4A5BCD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173831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7908E39B-0D59-5274-2DBB-2B08B66526C6}"/>
              </a:ext>
            </a:extLst>
          </p:cNvPr>
          <p:cNvSpPr txBox="1"/>
          <p:nvPr userDrawn="1"/>
        </p:nvSpPr>
        <p:spPr bwMode="auto">
          <a:xfrm>
            <a:off x="6906419" y="6866328"/>
            <a:ext cx="37941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4.83</a:t>
            </a:r>
          </a:p>
        </p:txBody>
      </p:sp>
      <p:cxnSp>
        <p:nvCxnSpPr>
          <p:cNvPr id="37" name="Gerade Verbindung 39">
            <a:extLst>
              <a:ext uri="{FF2B5EF4-FFF2-40B4-BE49-F238E27FC236}">
                <a16:creationId xmlns:a16="http://schemas.microsoft.com/office/drawing/2014/main" id="{741403F1-F7B3-9AAC-0B47-A275B3A7BCC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9">
            <a:extLst>
              <a:ext uri="{FF2B5EF4-FFF2-40B4-BE49-F238E27FC236}">
                <a16:creationId xmlns:a16="http://schemas.microsoft.com/office/drawing/2014/main" id="{6F730302-2B48-5328-439C-71728BD7583C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5132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2585">
          <p15:clr>
            <a:srgbClr val="F26B43"/>
          </p15:clr>
        </p15:guide>
        <p15:guide id="3" pos="2507">
          <p15:clr>
            <a:srgbClr val="F26B43"/>
          </p15:clr>
        </p15:guide>
        <p15:guide id="4" pos="2666">
          <p15:clr>
            <a:srgbClr val="F26B43"/>
          </p15:clr>
        </p15:guide>
        <p15:guide id="5" pos="5015">
          <p15:clr>
            <a:srgbClr val="F26B43"/>
          </p15:clr>
        </p15:guide>
        <p15:guide id="6" pos="5094">
          <p15:clr>
            <a:srgbClr val="F26B43"/>
          </p15:clr>
        </p15:guide>
        <p15:guide id="7" pos="5174">
          <p15:clr>
            <a:srgbClr val="F26B43"/>
          </p15:clr>
        </p15:guide>
        <p15:guide id="8" pos="3840">
          <p15:clr>
            <a:srgbClr val="F26B43"/>
          </p15:clr>
        </p15:guide>
        <p15:guide id="9" pos="3761">
          <p15:clr>
            <a:srgbClr val="F26B43"/>
          </p15:clr>
        </p15:guide>
        <p15:guide id="10" pos="3920">
          <p15:clr>
            <a:srgbClr val="F26B43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B2789607-9287-5C9B-CE36-ACEEDA3AB0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5" y="252313"/>
            <a:ext cx="11687175" cy="6354862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25985A-7F28-45B7-B44B-9C5CC7EF76E9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48053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131A203E-14AC-2C80-11EB-A03E08CA6D92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232712" y="3368239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3.3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78C64B3C-070B-EE83-61CB-6504AF784936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92F24D8-343C-65D3-F8F0-4215B926B65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85EE7C-4649-BB57-8E7B-FD5955CE8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3000" y="1027113"/>
            <a:ext cx="5329238" cy="4805362"/>
          </a:xfrm>
          <a:solidFill>
            <a:schemeClr val="bg1"/>
          </a:solidFill>
        </p:spPr>
        <p:txBody>
          <a:bodyPr lIns="72000" tIns="828000" rIns="72000" bIns="72000" numCol="2" spcCol="14400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29" name="Gerade Verbindung 39">
            <a:extLst>
              <a:ext uri="{FF2B5EF4-FFF2-40B4-BE49-F238E27FC236}">
                <a16:creationId xmlns:a16="http://schemas.microsoft.com/office/drawing/2014/main" id="{5A7BFDE7-230F-9B9D-FCB3-09AE99F1A5BB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5832476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45">
            <a:extLst>
              <a:ext uri="{FF2B5EF4-FFF2-40B4-BE49-F238E27FC236}">
                <a16:creationId xmlns:a16="http://schemas.microsoft.com/office/drawing/2014/main" id="{3A73DF59-D1D1-CD3E-A6F8-7EA7AD4C81A5}"/>
              </a:ext>
            </a:extLst>
          </p:cNvPr>
          <p:cNvCxnSpPr>
            <a:cxnSpLocks/>
          </p:cNvCxnSpPr>
          <p:nvPr userDrawn="1"/>
        </p:nvCxnSpPr>
        <p:spPr>
          <a:xfrm>
            <a:off x="-67681" y="5837335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44EB9B7B-6510-767A-6A64-72A34608DFF4}"/>
              </a:ext>
            </a:extLst>
          </p:cNvPr>
          <p:cNvSpPr txBox="1"/>
          <p:nvPr userDrawn="1"/>
        </p:nvSpPr>
        <p:spPr bwMode="auto">
          <a:xfrm rot="16200000">
            <a:off x="-205021" y="6163180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3000" y="1027113"/>
            <a:ext cx="5329238" cy="717550"/>
          </a:xfrm>
        </p:spPr>
        <p:txBody>
          <a:bodyPr lIns="72000" tIns="0" rIns="7200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51" name="Gerade Verbindung 45">
            <a:extLst>
              <a:ext uri="{FF2B5EF4-FFF2-40B4-BE49-F238E27FC236}">
                <a16:creationId xmlns:a16="http://schemas.microsoft.com/office/drawing/2014/main" id="{E69F43A7-85BD-00DB-49EE-0E43CAFA79B9}"/>
              </a:ext>
            </a:extLst>
          </p:cNvPr>
          <p:cNvCxnSpPr>
            <a:cxnSpLocks/>
            <a:endCxn id="7" idx="3"/>
          </p:cNvCxnSpPr>
          <p:nvPr userDrawn="1"/>
        </p:nvCxnSpPr>
        <p:spPr>
          <a:xfrm flipH="1">
            <a:off x="6223000" y="6927884"/>
            <a:ext cx="5329238" cy="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CAE2B241-8649-9D01-1705-11C4CEE8AFBB}"/>
              </a:ext>
            </a:extLst>
          </p:cNvPr>
          <p:cNvSpPr txBox="1"/>
          <p:nvPr userDrawn="1"/>
        </p:nvSpPr>
        <p:spPr bwMode="auto">
          <a:xfrm>
            <a:off x="8757776" y="6866329"/>
            <a:ext cx="25968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4.8</a:t>
            </a:r>
          </a:p>
        </p:txBody>
      </p:sp>
      <p:cxnSp>
        <p:nvCxnSpPr>
          <p:cNvPr id="57" name="Gerade Verbindung 39">
            <a:extLst>
              <a:ext uri="{FF2B5EF4-FFF2-40B4-BE49-F238E27FC236}">
                <a16:creationId xmlns:a16="http://schemas.microsoft.com/office/drawing/2014/main" id="{315BFF8E-94B1-7C3B-B42D-8460116BA2DC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52238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feld 59">
            <a:extLst>
              <a:ext uri="{FF2B5EF4-FFF2-40B4-BE49-F238E27FC236}">
                <a16:creationId xmlns:a16="http://schemas.microsoft.com/office/drawing/2014/main" id="{64267D42-D298-BADC-3AC6-F22330880763}"/>
              </a:ext>
            </a:extLst>
          </p:cNvPr>
          <p:cNvSpPr txBox="1"/>
          <p:nvPr userDrawn="1"/>
        </p:nvSpPr>
        <p:spPr bwMode="auto">
          <a:xfrm>
            <a:off x="11594306" y="6866329"/>
            <a:ext cx="31115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.07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0D091842-17B5-3FA0-E6E2-AF212F57FA68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2142D2AC-21F1-FCDF-3160-FF8B0F5BC6F8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0B41E17-7DC1-E1D2-16CA-68E31C16BB0D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08D0DCA2-373A-EED0-0EC5-B5894054EE1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43E78FCC-2A8A-9FED-9557-B8AF209D4CAC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9">
            <a:extLst>
              <a:ext uri="{FF2B5EF4-FFF2-40B4-BE49-F238E27FC236}">
                <a16:creationId xmlns:a16="http://schemas.microsoft.com/office/drawing/2014/main" id="{AD15DAEF-2EF7-6B92-2C8F-D5F4183A978A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E012B165-94B6-8D30-B268-CED696710DE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733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2" pos="3840">
          <p15:clr>
            <a:srgbClr val="F26B43"/>
          </p15:clr>
        </p15:guide>
        <p15:guide id="3" pos="3761">
          <p15:clr>
            <a:srgbClr val="F26B43"/>
          </p15:clr>
        </p15:guide>
        <p15:guide id="4" pos="3920">
          <p15:clr>
            <a:srgbClr val="F26B43"/>
          </p15:clr>
        </p15:guide>
        <p15:guide id="5" orient="horz" pos="3674">
          <p15:clr>
            <a:srgbClr val="F26B43"/>
          </p15:clr>
        </p15:guide>
        <p15:guide id="6" pos="7277">
          <p15:clr>
            <a:srgbClr val="F26B43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4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B2789607-9287-5C9B-CE36-ACEEDA3AB0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5" y="252313"/>
            <a:ext cx="11687175" cy="6354862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0C356-567C-4D90-9A43-F48133FAA387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cxnSp>
        <p:nvCxnSpPr>
          <p:cNvPr id="9" name="Gerade Verbindung 45">
            <a:extLst>
              <a:ext uri="{FF2B5EF4-FFF2-40B4-BE49-F238E27FC236}">
                <a16:creationId xmlns:a16="http://schemas.microsoft.com/office/drawing/2014/main" id="{9BA35785-0010-1D7F-F5E7-285801E75A22}"/>
              </a:ext>
            </a:extLst>
          </p:cNvPr>
          <p:cNvCxnSpPr>
            <a:cxnSpLocks/>
          </p:cNvCxnSpPr>
          <p:nvPr userDrawn="1"/>
        </p:nvCxnSpPr>
        <p:spPr>
          <a:xfrm>
            <a:off x="-66517" y="2420938"/>
            <a:ext cx="0" cy="201612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131A203E-14AC-2C80-11EB-A03E08CA6D92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422625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A9C7012A-6ADA-0462-5F48-3DF8AA234EC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AC743B03-1818-EAEE-FABA-971DCAE5C79E}"/>
              </a:ext>
            </a:extLst>
          </p:cNvPr>
          <p:cNvSpPr txBox="1"/>
          <p:nvPr userDrawn="1"/>
        </p:nvSpPr>
        <p:spPr bwMode="auto">
          <a:xfrm rot="16200000">
            <a:off x="-175002" y="3364858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5.6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3" name="Gerade Verbindung 39">
            <a:extLst>
              <a:ext uri="{FF2B5EF4-FFF2-40B4-BE49-F238E27FC236}">
                <a16:creationId xmlns:a16="http://schemas.microsoft.com/office/drawing/2014/main" id="{D5809E7C-1E4C-3880-3457-D4A566A3FFF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78C64B3C-070B-EE83-61CB-6504AF784936}"/>
              </a:ext>
            </a:extLst>
          </p:cNvPr>
          <p:cNvCxnSpPr>
            <a:cxnSpLocks/>
          </p:cNvCxnSpPr>
          <p:nvPr userDrawn="1"/>
        </p:nvCxnSpPr>
        <p:spPr>
          <a:xfrm>
            <a:off x="-66517" y="1268413"/>
            <a:ext cx="0" cy="115252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992F24D8-343C-65D3-F8F0-4215B926B653}"/>
              </a:ext>
            </a:extLst>
          </p:cNvPr>
          <p:cNvSpPr txBox="1"/>
          <p:nvPr userDrawn="1"/>
        </p:nvSpPr>
        <p:spPr bwMode="auto">
          <a:xfrm rot="16200000">
            <a:off x="-175002" y="1783120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3.2</a:t>
            </a:r>
          </a:p>
        </p:txBody>
      </p:sp>
      <p:cxnSp>
        <p:nvCxnSpPr>
          <p:cNvPr id="18" name="Gerade Verbindung 45">
            <a:extLst>
              <a:ext uri="{FF2B5EF4-FFF2-40B4-BE49-F238E27FC236}">
                <a16:creationId xmlns:a16="http://schemas.microsoft.com/office/drawing/2014/main" id="{8C6CAB10-5488-DEFB-7443-1946A48D9CA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927884"/>
            <a:ext cx="1146971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46D3EA15-3A69-193D-80C3-4C6B3C738958}"/>
              </a:ext>
            </a:extLst>
          </p:cNvPr>
          <p:cNvSpPr txBox="1"/>
          <p:nvPr userDrawn="1"/>
        </p:nvSpPr>
        <p:spPr bwMode="auto">
          <a:xfrm>
            <a:off x="685006" y="6866329"/>
            <a:ext cx="27463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3.18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94E9901-1E98-2ADE-785B-01AFB68F3302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85EE7C-4649-BB57-8E7B-FD5955CE82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98588" y="2420939"/>
            <a:ext cx="2159000" cy="2016124"/>
          </a:xfrm>
          <a:solidFill>
            <a:schemeClr val="bg1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29" name="Gerade Verbindung 39">
            <a:extLst>
              <a:ext uri="{FF2B5EF4-FFF2-40B4-BE49-F238E27FC236}">
                <a16:creationId xmlns:a16="http://schemas.microsoft.com/office/drawing/2014/main" id="{5A7BFDE7-230F-9B9D-FCB3-09AE99F1A5BB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235701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44EB9B7B-6510-767A-6A64-72A34608DFF4}"/>
              </a:ext>
            </a:extLst>
          </p:cNvPr>
          <p:cNvSpPr txBox="1"/>
          <p:nvPr userDrawn="1"/>
        </p:nvSpPr>
        <p:spPr bwMode="auto">
          <a:xfrm rot="16200000">
            <a:off x="-205021" y="6363156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.0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34" name="Gerade Verbindung 45">
            <a:extLst>
              <a:ext uri="{FF2B5EF4-FFF2-40B4-BE49-F238E27FC236}">
                <a16:creationId xmlns:a16="http://schemas.microsoft.com/office/drawing/2014/main" id="{ECA74FBB-0D89-209D-6934-30C21C6BB22B}"/>
              </a:ext>
            </a:extLst>
          </p:cNvPr>
          <p:cNvCxnSpPr>
            <a:cxnSpLocks/>
          </p:cNvCxnSpPr>
          <p:nvPr userDrawn="1"/>
        </p:nvCxnSpPr>
        <p:spPr>
          <a:xfrm flipH="1">
            <a:off x="10795000" y="6927884"/>
            <a:ext cx="1143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84FB7B19-7DC4-B587-7815-A0C43D8EEBB5}"/>
              </a:ext>
            </a:extLst>
          </p:cNvPr>
          <p:cNvSpPr txBox="1"/>
          <p:nvPr userDrawn="1"/>
        </p:nvSpPr>
        <p:spPr bwMode="auto">
          <a:xfrm>
            <a:off x="11226799" y="6866329"/>
            <a:ext cx="28892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3.18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029" y="250825"/>
            <a:ext cx="11685600" cy="773114"/>
          </a:xfrm>
        </p:spPr>
        <p:txBody>
          <a:bodyPr lIns="126000" tIns="0" rIns="12600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cxnSp>
        <p:nvCxnSpPr>
          <p:cNvPr id="37" name="Gerade Verbindung 39">
            <a:extLst>
              <a:ext uri="{FF2B5EF4-FFF2-40B4-BE49-F238E27FC236}">
                <a16:creationId xmlns:a16="http://schemas.microsoft.com/office/drawing/2014/main" id="{9EF1399E-6013-B301-AFCA-8C8ACAC8D3A6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9">
            <a:extLst>
              <a:ext uri="{FF2B5EF4-FFF2-40B4-BE49-F238E27FC236}">
                <a16:creationId xmlns:a16="http://schemas.microsoft.com/office/drawing/2014/main" id="{035492EC-21E4-3654-4914-EF607B96C2AB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45">
            <a:extLst>
              <a:ext uri="{FF2B5EF4-FFF2-40B4-BE49-F238E27FC236}">
                <a16:creationId xmlns:a16="http://schemas.microsoft.com/office/drawing/2014/main" id="{09874C7C-337D-5CC2-FB31-9DD3D0CE1EDB}"/>
              </a:ext>
            </a:extLst>
          </p:cNvPr>
          <p:cNvCxnSpPr>
            <a:cxnSpLocks/>
          </p:cNvCxnSpPr>
          <p:nvPr userDrawn="1"/>
        </p:nvCxnSpPr>
        <p:spPr>
          <a:xfrm>
            <a:off x="-66517" y="249238"/>
            <a:ext cx="0" cy="7747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933927A5-E5E8-4D0A-8B8C-755D2B0C7BE6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48" name="Gerade Verbindung 39">
            <a:extLst>
              <a:ext uri="{FF2B5EF4-FFF2-40B4-BE49-F238E27FC236}">
                <a16:creationId xmlns:a16="http://schemas.microsoft.com/office/drawing/2014/main" id="{CC4A261B-C3C7-AAAD-FCA8-68F7C4B5FE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268413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DE4651DE-E489-5D75-02B2-53FC9C80E6A7}"/>
              </a:ext>
            </a:extLst>
          </p:cNvPr>
          <p:cNvSpPr txBox="1"/>
          <p:nvPr userDrawn="1"/>
        </p:nvSpPr>
        <p:spPr bwMode="auto">
          <a:xfrm rot="16200000">
            <a:off x="-176590" y="1080768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DEF1156-6915-7CF6-8903-F9ED5EA57069}"/>
              </a:ext>
            </a:extLst>
          </p:cNvPr>
          <p:cNvSpPr txBox="1"/>
          <p:nvPr userDrawn="1"/>
        </p:nvSpPr>
        <p:spPr bwMode="auto">
          <a:xfrm rot="16200000">
            <a:off x="-170042" y="4505581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53" name="Gerade Verbindung 45">
            <a:extLst>
              <a:ext uri="{FF2B5EF4-FFF2-40B4-BE49-F238E27FC236}">
                <a16:creationId xmlns:a16="http://schemas.microsoft.com/office/drawing/2014/main" id="{F3D890A2-2E8A-0FD4-5157-82D948DFF562}"/>
              </a:ext>
            </a:extLst>
          </p:cNvPr>
          <p:cNvCxnSpPr>
            <a:cxnSpLocks/>
          </p:cNvCxnSpPr>
          <p:nvPr userDrawn="1"/>
        </p:nvCxnSpPr>
        <p:spPr>
          <a:xfrm>
            <a:off x="-66517" y="4689475"/>
            <a:ext cx="0" cy="154622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ECB0E207-3272-0CF6-9786-D743F34751D7}"/>
              </a:ext>
            </a:extLst>
          </p:cNvPr>
          <p:cNvSpPr txBox="1"/>
          <p:nvPr userDrawn="1"/>
        </p:nvSpPr>
        <p:spPr bwMode="auto">
          <a:xfrm rot="16200000">
            <a:off x="-175002" y="5401033"/>
            <a:ext cx="21697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3.2</a:t>
            </a:r>
          </a:p>
        </p:txBody>
      </p:sp>
      <p:cxnSp>
        <p:nvCxnSpPr>
          <p:cNvPr id="58" name="Gerade Verbindung 39">
            <a:extLst>
              <a:ext uri="{FF2B5EF4-FFF2-40B4-BE49-F238E27FC236}">
                <a16:creationId xmlns:a16="http://schemas.microsoft.com/office/drawing/2014/main" id="{7ACCCC42-92FB-3A12-D4A3-A7ED1C9CB19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4437063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platzhalter 25">
            <a:extLst>
              <a:ext uri="{FF2B5EF4-FFF2-40B4-BE49-F238E27FC236}">
                <a16:creationId xmlns:a16="http://schemas.microsoft.com/office/drawing/2014/main" id="{910AFFEB-E379-9184-0D1C-83BCB3ED47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8588" y="4689476"/>
            <a:ext cx="9396412" cy="1546226"/>
          </a:xfrm>
          <a:solidFill>
            <a:schemeClr val="bg1"/>
          </a:solidFill>
        </p:spPr>
        <p:txBody>
          <a:bodyPr lIns="72000" tIns="72000" rIns="72000" bIns="72000" numCol="1" spcCol="0" anchor="ctr" anchorCtr="0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de-CH"/>
              <a:t>Text</a:t>
            </a:r>
          </a:p>
        </p:txBody>
      </p:sp>
      <p:sp>
        <p:nvSpPr>
          <p:cNvPr id="60" name="Textplatzhalter 25">
            <a:extLst>
              <a:ext uri="{FF2B5EF4-FFF2-40B4-BE49-F238E27FC236}">
                <a16:creationId xmlns:a16="http://schemas.microsoft.com/office/drawing/2014/main" id="{B43653A5-E4B9-156C-B473-C81D7A7E8A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11588" y="2420939"/>
            <a:ext cx="2159000" cy="2016124"/>
          </a:xfrm>
          <a:solidFill>
            <a:schemeClr val="bg1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2" name="Textplatzhalter 25">
            <a:extLst>
              <a:ext uri="{FF2B5EF4-FFF2-40B4-BE49-F238E27FC236}">
                <a16:creationId xmlns:a16="http://schemas.microsoft.com/office/drawing/2014/main" id="{6878A79A-A26F-CDAE-4EBF-C0C3A11A8E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23199" y="2420939"/>
            <a:ext cx="2159000" cy="2016124"/>
          </a:xfrm>
          <a:solidFill>
            <a:schemeClr val="bg1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4" name="Textplatzhalter 25">
            <a:extLst>
              <a:ext uri="{FF2B5EF4-FFF2-40B4-BE49-F238E27FC236}">
                <a16:creationId xmlns:a16="http://schemas.microsoft.com/office/drawing/2014/main" id="{DF27DBE4-061C-1238-4783-1615B53DDC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36000" y="2420939"/>
            <a:ext cx="2159000" cy="2016124"/>
          </a:xfrm>
          <a:solidFill>
            <a:schemeClr val="bg1"/>
          </a:solidFill>
        </p:spPr>
        <p:txBody>
          <a:bodyPr lIns="72000" tIns="72000" rIns="72000" bIns="7200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69" name="Gerade Verbindung 39">
            <a:extLst>
              <a:ext uri="{FF2B5EF4-FFF2-40B4-BE49-F238E27FC236}">
                <a16:creationId xmlns:a16="http://schemas.microsoft.com/office/drawing/2014/main" id="{BE49413A-D6C3-5EFF-981A-A34D7DED2AD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8588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45">
            <a:extLst>
              <a:ext uri="{FF2B5EF4-FFF2-40B4-BE49-F238E27FC236}">
                <a16:creationId xmlns:a16="http://schemas.microsoft.com/office/drawing/2014/main" id="{D645FDE9-4638-4530-C0DB-FC763B8A5C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7001" y="6927884"/>
            <a:ext cx="216058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feld 70">
            <a:extLst>
              <a:ext uri="{FF2B5EF4-FFF2-40B4-BE49-F238E27FC236}">
                <a16:creationId xmlns:a16="http://schemas.microsoft.com/office/drawing/2014/main" id="{F7DEED7B-ADC6-2FF1-0F0C-74EA24FD826E}"/>
              </a:ext>
            </a:extLst>
          </p:cNvPr>
          <p:cNvSpPr txBox="1"/>
          <p:nvPr userDrawn="1"/>
        </p:nvSpPr>
        <p:spPr bwMode="auto">
          <a:xfrm>
            <a:off x="2380456" y="6866329"/>
            <a:ext cx="19367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0</a:t>
            </a:r>
          </a:p>
        </p:txBody>
      </p:sp>
      <p:cxnSp>
        <p:nvCxnSpPr>
          <p:cNvPr id="73" name="Gerade Verbindung 45">
            <a:extLst>
              <a:ext uri="{FF2B5EF4-FFF2-40B4-BE49-F238E27FC236}">
                <a16:creationId xmlns:a16="http://schemas.microsoft.com/office/drawing/2014/main" id="{BCCCD446-B2F1-7A6E-1A78-7A520C4F760E}"/>
              </a:ext>
            </a:extLst>
          </p:cNvPr>
          <p:cNvCxnSpPr>
            <a:cxnSpLocks/>
          </p:cNvCxnSpPr>
          <p:nvPr userDrawn="1"/>
        </p:nvCxnSpPr>
        <p:spPr>
          <a:xfrm flipH="1">
            <a:off x="3810000" y="6927885"/>
            <a:ext cx="2159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>
            <a:extLst>
              <a:ext uri="{FF2B5EF4-FFF2-40B4-BE49-F238E27FC236}">
                <a16:creationId xmlns:a16="http://schemas.microsoft.com/office/drawing/2014/main" id="{F548B2BC-CAEE-D679-987F-D9E3161A17BB}"/>
              </a:ext>
            </a:extLst>
          </p:cNvPr>
          <p:cNvSpPr txBox="1"/>
          <p:nvPr userDrawn="1"/>
        </p:nvSpPr>
        <p:spPr bwMode="auto">
          <a:xfrm>
            <a:off x="4792662" y="6866329"/>
            <a:ext cx="19367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0</a:t>
            </a:r>
          </a:p>
        </p:txBody>
      </p:sp>
      <p:cxnSp>
        <p:nvCxnSpPr>
          <p:cNvPr id="75" name="Gerade Verbindung 45">
            <a:extLst>
              <a:ext uri="{FF2B5EF4-FFF2-40B4-BE49-F238E27FC236}">
                <a16:creationId xmlns:a16="http://schemas.microsoft.com/office/drawing/2014/main" id="{28CD0C6B-27E3-568E-D4B7-05FAC9D6FE61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413" y="6927884"/>
            <a:ext cx="216058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feld 75">
            <a:extLst>
              <a:ext uri="{FF2B5EF4-FFF2-40B4-BE49-F238E27FC236}">
                <a16:creationId xmlns:a16="http://schemas.microsoft.com/office/drawing/2014/main" id="{6E456E13-2F05-84A2-A3BF-52FADB04583C}"/>
              </a:ext>
            </a:extLst>
          </p:cNvPr>
          <p:cNvSpPr txBox="1"/>
          <p:nvPr userDrawn="1"/>
        </p:nvSpPr>
        <p:spPr bwMode="auto">
          <a:xfrm>
            <a:off x="7204868" y="6866329"/>
            <a:ext cx="19367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0</a:t>
            </a:r>
          </a:p>
        </p:txBody>
      </p:sp>
      <p:cxnSp>
        <p:nvCxnSpPr>
          <p:cNvPr id="77" name="Gerade Verbindung 45">
            <a:extLst>
              <a:ext uri="{FF2B5EF4-FFF2-40B4-BE49-F238E27FC236}">
                <a16:creationId xmlns:a16="http://schemas.microsoft.com/office/drawing/2014/main" id="{686F3125-BB01-64D5-F534-135C2A9DD97F}"/>
              </a:ext>
            </a:extLst>
          </p:cNvPr>
          <p:cNvCxnSpPr>
            <a:cxnSpLocks/>
          </p:cNvCxnSpPr>
          <p:nvPr userDrawn="1"/>
        </p:nvCxnSpPr>
        <p:spPr>
          <a:xfrm flipH="1">
            <a:off x="8634413" y="6927884"/>
            <a:ext cx="216058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>
            <a:extLst>
              <a:ext uri="{FF2B5EF4-FFF2-40B4-BE49-F238E27FC236}">
                <a16:creationId xmlns:a16="http://schemas.microsoft.com/office/drawing/2014/main" id="{B3AF589E-9FB7-BECA-F545-F1AADF3741B6}"/>
              </a:ext>
            </a:extLst>
          </p:cNvPr>
          <p:cNvSpPr txBox="1"/>
          <p:nvPr userDrawn="1"/>
        </p:nvSpPr>
        <p:spPr bwMode="auto">
          <a:xfrm>
            <a:off x="9617868" y="6866329"/>
            <a:ext cx="193676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6.0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B38FF525-31D3-A273-1200-5B98370858D9}"/>
              </a:ext>
            </a:extLst>
          </p:cNvPr>
          <p:cNvSpPr txBox="1"/>
          <p:nvPr userDrawn="1"/>
        </p:nvSpPr>
        <p:spPr bwMode="auto">
          <a:xfrm>
            <a:off x="3558000" y="6866329"/>
            <a:ext cx="252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72B9530E-BDEF-6F25-A7B2-6A71DDE62E73}"/>
              </a:ext>
            </a:extLst>
          </p:cNvPr>
          <p:cNvSpPr txBox="1"/>
          <p:nvPr userDrawn="1"/>
        </p:nvSpPr>
        <p:spPr bwMode="auto">
          <a:xfrm>
            <a:off x="8382413" y="6866329"/>
            <a:ext cx="252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90" name="Gerade Verbindung 39">
            <a:extLst>
              <a:ext uri="{FF2B5EF4-FFF2-40B4-BE49-F238E27FC236}">
                <a16:creationId xmlns:a16="http://schemas.microsoft.com/office/drawing/2014/main" id="{7DDC6E77-A438-8B3D-1413-AEADF40246FB}"/>
              </a:ext>
            </a:extLst>
          </p:cNvPr>
          <p:cNvCxnSpPr>
            <a:cxnSpLocks/>
          </p:cNvCxnSpPr>
          <p:nvPr userDrawn="1"/>
        </p:nvCxnSpPr>
        <p:spPr>
          <a:xfrm flipH="1">
            <a:off x="3557593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39">
            <a:extLst>
              <a:ext uri="{FF2B5EF4-FFF2-40B4-BE49-F238E27FC236}">
                <a16:creationId xmlns:a16="http://schemas.microsoft.com/office/drawing/2014/main" id="{731DA2A0-F4E9-B745-6CA5-8DB3B4B5CD38}"/>
              </a:ext>
            </a:extLst>
          </p:cNvPr>
          <p:cNvCxnSpPr>
            <a:cxnSpLocks/>
          </p:cNvCxnSpPr>
          <p:nvPr userDrawn="1"/>
        </p:nvCxnSpPr>
        <p:spPr>
          <a:xfrm flipH="1">
            <a:off x="380958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39">
            <a:extLst>
              <a:ext uri="{FF2B5EF4-FFF2-40B4-BE49-F238E27FC236}">
                <a16:creationId xmlns:a16="http://schemas.microsoft.com/office/drawing/2014/main" id="{63FDC983-8390-145D-7520-B6D5E6A91F37}"/>
              </a:ext>
            </a:extLst>
          </p:cNvPr>
          <p:cNvCxnSpPr>
            <a:cxnSpLocks/>
          </p:cNvCxnSpPr>
          <p:nvPr userDrawn="1"/>
        </p:nvCxnSpPr>
        <p:spPr>
          <a:xfrm flipH="1">
            <a:off x="5968205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39">
            <a:extLst>
              <a:ext uri="{FF2B5EF4-FFF2-40B4-BE49-F238E27FC236}">
                <a16:creationId xmlns:a16="http://schemas.microsoft.com/office/drawing/2014/main" id="{A2D817BF-7EDA-37F3-BE97-E21456869CD4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39">
            <a:extLst>
              <a:ext uri="{FF2B5EF4-FFF2-40B4-BE49-F238E27FC236}">
                <a16:creationId xmlns:a16="http://schemas.microsoft.com/office/drawing/2014/main" id="{CEACA9FF-5499-630B-B7A1-E7BB8989B6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38215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39">
            <a:extLst>
              <a:ext uri="{FF2B5EF4-FFF2-40B4-BE49-F238E27FC236}">
                <a16:creationId xmlns:a16="http://schemas.microsoft.com/office/drawing/2014/main" id="{55B4C5B5-F596-64F5-C097-CDEADEFB8B8B}"/>
              </a:ext>
            </a:extLst>
          </p:cNvPr>
          <p:cNvCxnSpPr>
            <a:cxnSpLocks/>
          </p:cNvCxnSpPr>
          <p:nvPr userDrawn="1"/>
        </p:nvCxnSpPr>
        <p:spPr>
          <a:xfrm flipH="1">
            <a:off x="863441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39">
            <a:extLst>
              <a:ext uri="{FF2B5EF4-FFF2-40B4-BE49-F238E27FC236}">
                <a16:creationId xmlns:a16="http://schemas.microsoft.com/office/drawing/2014/main" id="{52B10885-008D-0AFE-736E-9B650706A77A}"/>
              </a:ext>
            </a:extLst>
          </p:cNvPr>
          <p:cNvCxnSpPr>
            <a:cxnSpLocks/>
          </p:cNvCxnSpPr>
          <p:nvPr userDrawn="1"/>
        </p:nvCxnSpPr>
        <p:spPr>
          <a:xfrm flipH="1">
            <a:off x="1079341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F32260-D621-E856-5B8C-B44F9CDA8F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97000" y="1268413"/>
            <a:ext cx="2160588" cy="115252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/>
              <a:t> 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1DB2BE2A-AD4B-21E5-D684-7EAB37A4C4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99" y="1268413"/>
            <a:ext cx="2160588" cy="115252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/>
              <a:t> 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2EBFE112-7611-14AA-018C-1AB2A7F3B7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3000" y="1268413"/>
            <a:ext cx="2160588" cy="115252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/>
              <a:t> 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621E6252-9EDE-4D51-A946-38C0488840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34711" y="1268413"/>
            <a:ext cx="2160588" cy="115252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CH"/>
              <a:t> </a:t>
            </a:r>
          </a:p>
        </p:txBody>
      </p:sp>
      <p:cxnSp>
        <p:nvCxnSpPr>
          <p:cNvPr id="20" name="Gerade Verbindung 39">
            <a:extLst>
              <a:ext uri="{FF2B5EF4-FFF2-40B4-BE49-F238E27FC236}">
                <a16:creationId xmlns:a16="http://schemas.microsoft.com/office/drawing/2014/main" id="{10EB8F3E-5217-8981-0749-B6B05E668D6B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CECEBBDB-28C3-D9FB-1E0E-CF52AD8CC1E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3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26B43"/>
          </p15:clr>
        </p15:guide>
        <p15:guide id="2" pos="3840">
          <p15:clr>
            <a:srgbClr val="F26B43"/>
          </p15:clr>
        </p15:guide>
        <p15:guide id="3" pos="3761">
          <p15:clr>
            <a:srgbClr val="F26B43"/>
          </p15:clr>
        </p15:guide>
        <p15:guide id="4" pos="3920">
          <p15:clr>
            <a:srgbClr val="F26B43"/>
          </p15:clr>
        </p15:guide>
        <p15:guide id="5" orient="horz" pos="2795">
          <p15:clr>
            <a:srgbClr val="F26B43"/>
          </p15:clr>
        </p15:guide>
        <p15:guide id="6" pos="2400">
          <p15:clr>
            <a:srgbClr val="F26B43"/>
          </p15:clr>
        </p15:guide>
        <p15:guide id="7" pos="2241">
          <p15:clr>
            <a:srgbClr val="F26B43"/>
          </p15:clr>
        </p15:guide>
        <p15:guide id="8" pos="881">
          <p15:clr>
            <a:srgbClr val="F26B43"/>
          </p15:clr>
        </p15:guide>
        <p15:guide id="9" orient="horz" pos="645">
          <p15:clr>
            <a:srgbClr val="F26B43"/>
          </p15:clr>
        </p15:guide>
        <p15:guide id="10" orient="horz" pos="2954">
          <p15:clr>
            <a:srgbClr val="F26B43"/>
          </p15:clr>
        </p15:guide>
        <p15:guide id="11" orient="horz" pos="3929">
          <p15:clr>
            <a:srgbClr val="F26B43"/>
          </p15:clr>
        </p15:guide>
        <p15:guide id="12" orient="horz" pos="799">
          <p15:clr>
            <a:srgbClr val="F26B43"/>
          </p15:clr>
        </p15:guide>
        <p15:guide id="13" pos="5280">
          <p15:clr>
            <a:srgbClr val="F26B43"/>
          </p15:clr>
        </p15:guide>
        <p15:guide id="14" pos="5439">
          <p15:clr>
            <a:srgbClr val="F26B43"/>
          </p15:clr>
        </p15:guide>
        <p15:guide id="15" pos="6800">
          <p15:clr>
            <a:srgbClr val="F26B43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A0411-B4FF-404D-AD94-73F99B251C02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35AA230F-3E9C-84F2-EBD7-4A6CAD0FB1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6" y="252313"/>
            <a:ext cx="11687174" cy="6354862"/>
          </a:xfrm>
          <a:solidFill>
            <a:schemeClr val="bg2"/>
          </a:solidFill>
        </p:spPr>
        <p:txBody>
          <a:bodyPr anchor="b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30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Herzlichen Dank</a:t>
            </a:r>
          </a:p>
        </p:txBody>
      </p:sp>
      <p:cxnSp>
        <p:nvCxnSpPr>
          <p:cNvPr id="8" name="Gerade Verbindung 45">
            <a:extLst>
              <a:ext uri="{FF2B5EF4-FFF2-40B4-BE49-F238E27FC236}">
                <a16:creationId xmlns:a16="http://schemas.microsoft.com/office/drawing/2014/main" id="{D587480F-E169-503F-F177-0C1A75114397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9">
            <a:extLst>
              <a:ext uri="{FF2B5EF4-FFF2-40B4-BE49-F238E27FC236}">
                <a16:creationId xmlns:a16="http://schemas.microsoft.com/office/drawing/2014/main" id="{22C54E3F-FE33-5475-3693-3028EDA96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3551553-7219-D391-8AC0-0DD49C03D063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7.65</a:t>
            </a:r>
            <a:endParaRPr lang="fr" sz="600" b="1">
              <a:solidFill>
                <a:schemeClr val="tx2"/>
              </a:solidFill>
            </a:endParaRPr>
          </a:p>
        </p:txBody>
      </p: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9C45EBCE-BBAF-1B0F-6101-3E5C995DD3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24818C3C-0F9E-E17E-8258-25A3D31B7EC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A38CC1D9-B00F-0168-9E77-E9DF5459C3A0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800333-29B7-1150-AA71-945B44DAD262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0F6E2610-99B5-D49F-4679-C83F5622C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EC2583B5-F28A-ADF2-890A-A083B4300F7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45">
            <a:extLst>
              <a:ext uri="{FF2B5EF4-FFF2-40B4-BE49-F238E27FC236}">
                <a16:creationId xmlns:a16="http://schemas.microsoft.com/office/drawing/2014/main" id="{099AE2D9-C386-7D6E-F549-2185EFF7A90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61C96D02-8802-46D2-7D0D-2DB48CF671C1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fr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C9535C22-4AD9-FCCE-1EAC-DCDC4D77BE45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1E5D7B79-67CA-703A-A46B-8A71CF86BEB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525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3E01579-578E-B85C-95C6-222C615AA6B0}"/>
              </a:ext>
            </a:extLst>
          </p:cNvPr>
          <p:cNvSpPr/>
          <p:nvPr userDrawn="1"/>
        </p:nvSpPr>
        <p:spPr>
          <a:xfrm>
            <a:off x="250826" y="252412"/>
            <a:ext cx="11687173" cy="6354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600"/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29398F-FDE2-4857-98E0-1CDDC8A55ABA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30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Herzlichen Dank</a:t>
            </a:r>
          </a:p>
        </p:txBody>
      </p:sp>
      <p:cxnSp>
        <p:nvCxnSpPr>
          <p:cNvPr id="8" name="Gerade Verbindung 45">
            <a:extLst>
              <a:ext uri="{FF2B5EF4-FFF2-40B4-BE49-F238E27FC236}">
                <a16:creationId xmlns:a16="http://schemas.microsoft.com/office/drawing/2014/main" id="{D587480F-E169-503F-F177-0C1A75114397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9">
            <a:extLst>
              <a:ext uri="{FF2B5EF4-FFF2-40B4-BE49-F238E27FC236}">
                <a16:creationId xmlns:a16="http://schemas.microsoft.com/office/drawing/2014/main" id="{22C54E3F-FE33-5475-3693-3028EDA96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3551553-7219-D391-8AC0-0DD49C03D063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9C45EBCE-BBAF-1B0F-6101-3E5C995DD3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24818C3C-0F9E-E17E-8258-25A3D31B7EC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A38CC1D9-B00F-0168-9E77-E9DF5459C3A0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800333-29B7-1150-AA71-945B44DAD262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0F6E2610-99B5-D49F-4679-C83F5622C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EC2583B5-F28A-ADF2-890A-A083B4300F7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45">
            <a:extLst>
              <a:ext uri="{FF2B5EF4-FFF2-40B4-BE49-F238E27FC236}">
                <a16:creationId xmlns:a16="http://schemas.microsoft.com/office/drawing/2014/main" id="{099AE2D9-C386-7D6E-F549-2185EFF7A90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61C96D02-8802-46D2-7D0D-2DB48CF671C1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C9535C22-4AD9-FCCE-1EAC-DCDC4D77BE45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1E5D7B79-67CA-703A-A46B-8A71CF86BEB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102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DB7DBD85-EA6E-4B7B-1EE7-89BCC766B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894E0-A1F4-494B-9A93-E1B476573185}" type="datetime1">
              <a:rPr lang="de-DE" smtClean="0"/>
              <a:t>29.02.2024</a:t>
            </a:fld>
            <a:endParaRPr lang="de-CH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0472E23-1F6B-F4B1-3EF3-59C07074F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35539996-0CCE-C80F-5B27-5BE1212A7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30" y="252000"/>
            <a:ext cx="5716800" cy="939809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Herzlichen Dank</a:t>
            </a:r>
          </a:p>
        </p:txBody>
      </p:sp>
      <p:cxnSp>
        <p:nvCxnSpPr>
          <p:cNvPr id="8" name="Gerade Verbindung 45">
            <a:extLst>
              <a:ext uri="{FF2B5EF4-FFF2-40B4-BE49-F238E27FC236}">
                <a16:creationId xmlns:a16="http://schemas.microsoft.com/office/drawing/2014/main" id="{D587480F-E169-503F-F177-0C1A75114397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9">
            <a:extLst>
              <a:ext uri="{FF2B5EF4-FFF2-40B4-BE49-F238E27FC236}">
                <a16:creationId xmlns:a16="http://schemas.microsoft.com/office/drawing/2014/main" id="{22C54E3F-FE33-5475-3693-3028EDA96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03551553-7219-D391-8AC0-0DD49C03D063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22" name="Gerade Verbindung 39">
            <a:extLst>
              <a:ext uri="{FF2B5EF4-FFF2-40B4-BE49-F238E27FC236}">
                <a16:creationId xmlns:a16="http://schemas.microsoft.com/office/drawing/2014/main" id="{9C45EBCE-BBAF-1B0F-6101-3E5C995DD3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24818C3C-0F9E-E17E-8258-25A3D31B7EC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A38CC1D9-B00F-0168-9E77-E9DF5459C3A0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800333-29B7-1150-AA71-945B44DAD262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10" name="Gerade Verbindung 39">
            <a:extLst>
              <a:ext uri="{FF2B5EF4-FFF2-40B4-BE49-F238E27FC236}">
                <a16:creationId xmlns:a16="http://schemas.microsoft.com/office/drawing/2014/main" id="{0F6E2610-99B5-D49F-4679-C83F5622CA0A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EC2583B5-F28A-ADF2-890A-A083B4300F73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45">
            <a:extLst>
              <a:ext uri="{FF2B5EF4-FFF2-40B4-BE49-F238E27FC236}">
                <a16:creationId xmlns:a16="http://schemas.microsoft.com/office/drawing/2014/main" id="{099AE2D9-C386-7D6E-F549-2185EFF7A90B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61C96D02-8802-46D2-7D0D-2DB48CF671C1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C9535C22-4AD9-FCCE-1EAC-DCDC4D77BE45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1E5D7B79-67CA-703A-A46B-8A71CF86BEB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2762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1">
            <a:extLst>
              <a:ext uri="{FF2B5EF4-FFF2-40B4-BE49-F238E27FC236}">
                <a16:creationId xmlns:a16="http://schemas.microsoft.com/office/drawing/2014/main" id="{BA7F0175-B3AE-3925-8CC9-3085DABC0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2917"/>
            <a:ext cx="12192000" cy="6628505"/>
          </a:xfrm>
          <a:prstGeom prst="rect">
            <a:avLst/>
          </a:prstGeom>
        </p:spPr>
      </p:pic>
      <p:cxnSp>
        <p:nvCxnSpPr>
          <p:cNvPr id="4" name="Gerade Verbindung 45">
            <a:extLst>
              <a:ext uri="{FF2B5EF4-FFF2-40B4-BE49-F238E27FC236}">
                <a16:creationId xmlns:a16="http://schemas.microsoft.com/office/drawing/2014/main" id="{A1691E82-091D-79CC-1491-A0559BB9C2D3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6353276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39">
            <a:extLst>
              <a:ext uri="{FF2B5EF4-FFF2-40B4-BE49-F238E27FC236}">
                <a16:creationId xmlns:a16="http://schemas.microsoft.com/office/drawing/2014/main" id="{954A1295-D22B-5BC8-41FC-90E3E29C0EB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B7779587-BD36-1C15-1FD1-C89D8D08D364}"/>
              </a:ext>
            </a:extLst>
          </p:cNvPr>
          <p:cNvSpPr txBox="1"/>
          <p:nvPr userDrawn="1"/>
        </p:nvSpPr>
        <p:spPr bwMode="auto">
          <a:xfrm rot="16200000">
            <a:off x="-232712" y="3367395"/>
            <a:ext cx="33239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7.6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11" name="Gerade Verbindung 39">
            <a:extLst>
              <a:ext uri="{FF2B5EF4-FFF2-40B4-BE49-F238E27FC236}">
                <a16:creationId xmlns:a16="http://schemas.microsoft.com/office/drawing/2014/main" id="{9D77BEF7-B2AB-6CF6-5111-65F175382563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45">
            <a:extLst>
              <a:ext uri="{FF2B5EF4-FFF2-40B4-BE49-F238E27FC236}">
                <a16:creationId xmlns:a16="http://schemas.microsoft.com/office/drawing/2014/main" id="{ABDB0717-E347-4BE5-3495-6270F35DFE87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51093A48-5359-F3AC-AEBD-C3B5FD26B1F9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20" name="Gerade Verbindung 45">
            <a:extLst>
              <a:ext uri="{FF2B5EF4-FFF2-40B4-BE49-F238E27FC236}">
                <a16:creationId xmlns:a16="http://schemas.microsoft.com/office/drawing/2014/main" id="{E1878330-60F3-B4E0-3B77-6A492361A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A4757B09-09A8-F16C-4975-547EF2F523EA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908F97F-5D4A-44E9-ECCA-46746910EB34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288935D7-3660-1FF6-7C35-A109E0AEC1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7" y="0"/>
            <a:ext cx="5716800" cy="1429687"/>
          </a:xfrm>
          <a:solidFill>
            <a:schemeClr val="accent1"/>
          </a:solidFill>
        </p:spPr>
        <p:txBody>
          <a:bodyPr wrap="square" lIns="252000" tIns="252000" rIns="252000" bIns="252000">
            <a:spAutoFit/>
          </a:bodyPr>
          <a:lstStyle>
            <a:lvl1pPr marL="0" indent="0">
              <a:spcBef>
                <a:spcPts val="0"/>
              </a:spcBef>
              <a:spcAft>
                <a:spcPts val="1900"/>
              </a:spcAft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36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54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72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/>
              <a:t>Präsentationstitel</a:t>
            </a:r>
          </a:p>
          <a:p>
            <a:pPr lvl="1"/>
            <a:r>
              <a:rPr lang="de-CH"/>
              <a:t>Information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6928A5E9-0F14-413F-75EB-0C4EE2E714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942" y="6370786"/>
            <a:ext cx="1610686" cy="528506"/>
          </a:xfrm>
          <a:prstGeom prst="rect">
            <a:avLst/>
          </a:prstGeom>
        </p:spPr>
      </p:pic>
      <p:cxnSp>
        <p:nvCxnSpPr>
          <p:cNvPr id="7" name="Gerade Verbindung 39">
            <a:extLst>
              <a:ext uri="{FF2B5EF4-FFF2-40B4-BE49-F238E27FC236}">
                <a16:creationId xmlns:a16="http://schemas.microsoft.com/office/drawing/2014/main" id="{C2DA3D16-235B-69D1-DECF-735627EEF0E3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22EE8BDF-C6A9-8833-4836-BCEB4829190F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9">
            <a:extLst>
              <a:ext uri="{FF2B5EF4-FFF2-40B4-BE49-F238E27FC236}">
                <a16:creationId xmlns:a16="http://schemas.microsoft.com/office/drawing/2014/main" id="{78510D02-06F5-A9DD-15CB-078CE4730E2E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7E5479A6-551D-D352-AE95-F36DAB36322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48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61">
          <p15:clr>
            <a:srgbClr val="F26B43"/>
          </p15:clr>
        </p15:guide>
        <p15:guide id="2" pos="3840">
          <p15:clr>
            <a:srgbClr val="F26B43"/>
          </p15:clr>
        </p15:guide>
        <p15:guide id="3" pos="3920">
          <p15:clr>
            <a:srgbClr val="F26B43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s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7FD85-AC0B-4D14-821D-FE9B94825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1.12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010953-3546-4290-BA6D-D7F662A3F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Projekt Regionale Sortimente NNF I Séance MSM AG _ Romandi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592DEC-4CF7-48F6-B4FE-D0061E31B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ABA92-B65E-42F5-BB28-73DA50746AED}" type="slidenum">
              <a:rPr lang="de-CH" smtClean="0"/>
              <a:t>‹N°›</a:t>
            </a:fld>
            <a:endParaRPr lang="de-CH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B68999B6-637B-EE55-3B66-EC308CFDA5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0825" y="250824"/>
            <a:ext cx="11687175" cy="774693"/>
          </a:xfrm>
        </p:spPr>
        <p:txBody>
          <a:bodyPr lIns="0" tIns="0" rIns="0" anchor="ctr" anchorCtr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2pPr>
          </a:lstStyle>
          <a:p>
            <a:pPr lvl="0"/>
            <a:r>
              <a:rPr lang="de-CH"/>
              <a:t>Titel</a:t>
            </a:r>
          </a:p>
          <a:p>
            <a:pPr lvl="1"/>
            <a:r>
              <a:rPr lang="de-CH"/>
              <a:t>Untertitel</a:t>
            </a:r>
          </a:p>
        </p:txBody>
      </p:sp>
      <p:sp>
        <p:nvSpPr>
          <p:cNvPr id="53" name="Textplatzhalter 25">
            <a:extLst>
              <a:ext uri="{FF2B5EF4-FFF2-40B4-BE49-F238E27FC236}">
                <a16:creationId xmlns:a16="http://schemas.microsoft.com/office/drawing/2014/main" id="{89370442-751C-DCEF-0015-26E453880F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825" y="1026000"/>
            <a:ext cx="11687174" cy="5580000"/>
          </a:xfrm>
          <a:noFill/>
        </p:spPr>
        <p:txBody>
          <a:bodyPr lIns="0" tIns="72000" rIns="0" bIns="0" numCol="1" spc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cxnSp>
        <p:nvCxnSpPr>
          <p:cNvPr id="23" name="Gerade Verbindung 45">
            <a:extLst>
              <a:ext uri="{FF2B5EF4-FFF2-40B4-BE49-F238E27FC236}">
                <a16:creationId xmlns:a16="http://schemas.microsoft.com/office/drawing/2014/main" id="{25CB8C2C-B663-C4FE-0C22-A6D2F0F4E090}"/>
              </a:ext>
            </a:extLst>
          </p:cNvPr>
          <p:cNvCxnSpPr>
            <a:cxnSpLocks/>
          </p:cNvCxnSpPr>
          <p:nvPr userDrawn="1"/>
        </p:nvCxnSpPr>
        <p:spPr>
          <a:xfrm>
            <a:off x="-66517" y="1027113"/>
            <a:ext cx="0" cy="5580062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9">
            <a:extLst>
              <a:ext uri="{FF2B5EF4-FFF2-40B4-BE49-F238E27FC236}">
                <a16:creationId xmlns:a16="http://schemas.microsoft.com/office/drawing/2014/main" id="{314931F2-870B-7375-0DEE-8DB3548B2A4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102225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9">
            <a:extLst>
              <a:ext uri="{FF2B5EF4-FFF2-40B4-BE49-F238E27FC236}">
                <a16:creationId xmlns:a16="http://schemas.microsoft.com/office/drawing/2014/main" id="{4297F1F2-DE4A-EDC2-6849-2A71F0E88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6605588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AE0769FF-B30A-495A-C3A1-3BC7C41E94CF}"/>
              </a:ext>
            </a:extLst>
          </p:cNvPr>
          <p:cNvSpPr txBox="1"/>
          <p:nvPr userDrawn="1"/>
        </p:nvSpPr>
        <p:spPr bwMode="auto">
          <a:xfrm rot="16200000">
            <a:off x="-203858" y="3755589"/>
            <a:ext cx="274683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5</a:t>
            </a:r>
            <a:endParaRPr lang="de-CH" sz="600" b="1">
              <a:solidFill>
                <a:schemeClr val="tx2"/>
              </a:solidFill>
            </a:endParaRPr>
          </a:p>
        </p:txBody>
      </p:sp>
      <p:cxnSp>
        <p:nvCxnSpPr>
          <p:cNvPr id="27" name="Gerade Verbindung 39">
            <a:extLst>
              <a:ext uri="{FF2B5EF4-FFF2-40B4-BE49-F238E27FC236}">
                <a16:creationId xmlns:a16="http://schemas.microsoft.com/office/drawing/2014/main" id="{7A26B24C-9972-C621-5D45-682035891D85}"/>
              </a:ext>
            </a:extLst>
          </p:cNvPr>
          <p:cNvCxnSpPr>
            <a:cxnSpLocks/>
          </p:cNvCxnSpPr>
          <p:nvPr userDrawn="1"/>
        </p:nvCxnSpPr>
        <p:spPr>
          <a:xfrm flipH="1">
            <a:off x="-102517" y="252312"/>
            <a:ext cx="72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45">
            <a:extLst>
              <a:ext uri="{FF2B5EF4-FFF2-40B4-BE49-F238E27FC236}">
                <a16:creationId xmlns:a16="http://schemas.microsoft.com/office/drawing/2014/main" id="{8ED745F4-C25E-88D7-804F-A7097180BEB0}"/>
              </a:ext>
            </a:extLst>
          </p:cNvPr>
          <p:cNvCxnSpPr>
            <a:cxnSpLocks/>
          </p:cNvCxnSpPr>
          <p:nvPr userDrawn="1"/>
        </p:nvCxnSpPr>
        <p:spPr>
          <a:xfrm>
            <a:off x="-66517" y="252312"/>
            <a:ext cx="0" cy="774801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5F89DA72-C75E-27DD-BC0D-02B8F976C123}"/>
              </a:ext>
            </a:extLst>
          </p:cNvPr>
          <p:cNvSpPr txBox="1"/>
          <p:nvPr userDrawn="1"/>
        </p:nvSpPr>
        <p:spPr bwMode="auto">
          <a:xfrm rot="16200000">
            <a:off x="-203857" y="578157"/>
            <a:ext cx="274681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none" lIns="36000" tIns="0" rIns="3600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2.15</a:t>
            </a:r>
            <a:endParaRPr lang="de-CH" sz="600" b="1">
              <a:solidFill>
                <a:schemeClr val="tx2"/>
              </a:solidFill>
            </a:endParaRP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FFCAA55F-377E-204F-3190-F74AA6F5E3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0825" y="0"/>
            <a:ext cx="5718175" cy="252000"/>
          </a:xfrm>
          <a:solidFill>
            <a:schemeClr val="accent1"/>
          </a:solidFill>
        </p:spPr>
        <p:txBody>
          <a:bodyPr lIns="126000" tIns="0" anchor="ctr" anchorCtr="0"/>
          <a:lstStyle>
            <a:lvl1pPr marL="252000" indent="-252000">
              <a:spcBef>
                <a:spcPts val="0"/>
              </a:spcBef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##	Abschnittstitel</a:t>
            </a:r>
          </a:p>
        </p:txBody>
      </p:sp>
      <p:cxnSp>
        <p:nvCxnSpPr>
          <p:cNvPr id="2" name="Gerade Verbindung 45">
            <a:extLst>
              <a:ext uri="{FF2B5EF4-FFF2-40B4-BE49-F238E27FC236}">
                <a16:creationId xmlns:a16="http://schemas.microsoft.com/office/drawing/2014/main" id="{0DFC9992-C783-2F3C-9065-4CCCDA661488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825" y="6927884"/>
            <a:ext cx="5719763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5F47FB56-0AEC-1E3B-1555-8DD839CB6916}"/>
              </a:ext>
            </a:extLst>
          </p:cNvPr>
          <p:cNvSpPr txBox="1"/>
          <p:nvPr userDrawn="1"/>
        </p:nvSpPr>
        <p:spPr bwMode="auto">
          <a:xfrm>
            <a:off x="2978482" y="6866329"/>
            <a:ext cx="317168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F8C669-6620-F93B-F2B2-F5DF0DC6F7C8}"/>
              </a:ext>
            </a:extLst>
          </p:cNvPr>
          <p:cNvSpPr txBox="1"/>
          <p:nvPr userDrawn="1"/>
        </p:nvSpPr>
        <p:spPr bwMode="auto">
          <a:xfrm>
            <a:off x="5969000" y="6866329"/>
            <a:ext cx="254000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0.7</a:t>
            </a:r>
          </a:p>
        </p:txBody>
      </p:sp>
      <p:cxnSp>
        <p:nvCxnSpPr>
          <p:cNvPr id="8" name="Gerade Verbindung 39">
            <a:extLst>
              <a:ext uri="{FF2B5EF4-FFF2-40B4-BE49-F238E27FC236}">
                <a16:creationId xmlns:a16="http://schemas.microsoft.com/office/drawing/2014/main" id="{1B3AFD81-3B74-9D20-FEE3-E1D1F87E2236}"/>
              </a:ext>
            </a:extLst>
          </p:cNvPr>
          <p:cNvCxnSpPr>
            <a:cxnSpLocks/>
          </p:cNvCxnSpPr>
          <p:nvPr userDrawn="1"/>
        </p:nvCxnSpPr>
        <p:spPr>
          <a:xfrm flipH="1">
            <a:off x="25002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9">
            <a:extLst>
              <a:ext uri="{FF2B5EF4-FFF2-40B4-BE49-F238E27FC236}">
                <a16:creationId xmlns:a16="http://schemas.microsoft.com/office/drawing/2014/main" id="{322C72BD-3BAB-6E68-DC34-754C9CAA3435}"/>
              </a:ext>
            </a:extLst>
          </p:cNvPr>
          <p:cNvCxnSpPr>
            <a:cxnSpLocks/>
          </p:cNvCxnSpPr>
          <p:nvPr userDrawn="1"/>
        </p:nvCxnSpPr>
        <p:spPr>
          <a:xfrm flipH="1">
            <a:off x="5972479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45">
            <a:extLst>
              <a:ext uri="{FF2B5EF4-FFF2-40B4-BE49-F238E27FC236}">
                <a16:creationId xmlns:a16="http://schemas.microsoft.com/office/drawing/2014/main" id="{2DDBA8AB-435D-1A79-2AE9-F53D44CA8BAC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3000" y="6927884"/>
            <a:ext cx="57150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1F47E36-FE4C-379E-D306-3C0D51DBBA05}"/>
              </a:ext>
            </a:extLst>
          </p:cNvPr>
          <p:cNvSpPr txBox="1"/>
          <p:nvPr userDrawn="1"/>
        </p:nvSpPr>
        <p:spPr bwMode="auto">
          <a:xfrm>
            <a:off x="8955419" y="6866329"/>
            <a:ext cx="345744" cy="123111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</a:ln>
        </p:spPr>
        <p:txBody>
          <a:bodyPr wrap="square" lIns="0" tIns="0" rIns="0" bIns="0" rtlCol="0">
            <a:spAutoFit/>
          </a:bodyPr>
          <a:lstStyle/>
          <a:p>
            <a:pPr algn="ctr" eaLnBrk="0" hangingPunct="0">
              <a:buClr>
                <a:schemeClr val="tx2"/>
              </a:buClr>
              <a:buSzTx/>
            </a:pPr>
            <a:r>
              <a:rPr lang="de-CH" sz="800" b="1">
                <a:solidFill>
                  <a:schemeClr val="tx2"/>
                </a:solidFill>
              </a:rPr>
              <a:t>15.88 </a:t>
            </a:r>
          </a:p>
        </p:txBody>
      </p:sp>
      <p:cxnSp>
        <p:nvCxnSpPr>
          <p:cNvPr id="19" name="Gerade Verbindung 39">
            <a:extLst>
              <a:ext uri="{FF2B5EF4-FFF2-40B4-BE49-F238E27FC236}">
                <a16:creationId xmlns:a16="http://schemas.microsoft.com/office/drawing/2014/main" id="{F7FE1A25-2786-BEEB-7BE4-1E035D639F28}"/>
              </a:ext>
            </a:extLst>
          </p:cNvPr>
          <p:cNvCxnSpPr>
            <a:cxnSpLocks/>
          </p:cNvCxnSpPr>
          <p:nvPr userDrawn="1"/>
        </p:nvCxnSpPr>
        <p:spPr>
          <a:xfrm flipH="1">
            <a:off x="6221902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9">
            <a:extLst>
              <a:ext uri="{FF2B5EF4-FFF2-40B4-BE49-F238E27FC236}">
                <a16:creationId xmlns:a16="http://schemas.microsoft.com/office/drawing/2014/main" id="{27C61324-9218-D05A-9C79-FE76AB946B0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938001" y="6891884"/>
            <a:ext cx="1" cy="720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140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F26B43"/>
          </p15:clr>
        </p15:guide>
        <p15:guide id="8" pos="3761">
          <p15:clr>
            <a:srgbClr val="F26B43"/>
          </p15:clr>
        </p15:guide>
        <p15:guide id="9" pos="3840">
          <p15:clr>
            <a:srgbClr val="F26B43"/>
          </p15:clr>
        </p15:guide>
        <p15:guide id="10" pos="392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8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oleObject" Target="../embeddings/oleObject12.bin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theme" Target="../theme/theme4.xml"/><Relationship Id="rId40" Type="http://schemas.openxmlformats.org/officeDocument/2006/relationships/image" Target="../media/image8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heme" Target="../theme/theme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60.xml"/><Relationship Id="rId7" Type="http://schemas.openxmlformats.org/officeDocument/2006/relationships/tags" Target="../tags/tag27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1.xml"/><Relationship Id="rId9" Type="http://schemas.openxmlformats.org/officeDocument/2006/relationships/oleObject" Target="../embeddings/oleObject1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ags" Target="../tags/tag3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34.xml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oleObject" Target="../embeddings/oleObject21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image" Target="../media/image27.emf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oleObject" Target="../embeddings/oleObject29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image" Target="../media/image29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44.xml"/><Relationship Id="rId30" Type="http://schemas.openxmlformats.org/officeDocument/2006/relationships/image" Target="../media/image2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  <a:endParaRPr lang="de-CH" sz="750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8747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82" r:id="rId2"/>
    <p:sldLayoutId id="2147483798" r:id="rId3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  <a:endParaRPr lang="de-CH" sz="750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20" name="Eingekerbter Richtungspfeil 2"/>
          <p:cNvSpPr/>
          <p:nvPr userDrawn="1"/>
        </p:nvSpPr>
        <p:spPr bwMode="auto">
          <a:xfrm>
            <a:off x="111303" y="6614452"/>
            <a:ext cx="88617" cy="144000"/>
          </a:xfrm>
          <a:prstGeom prst="chevron">
            <a:avLst>
              <a:gd name="adj" fmla="val 6069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horz" lIns="0" tIns="0" rIns="0" bIns="0" rtlCol="0" anchor="ctr" anchorCtr="1"/>
          <a:lstStyle/>
          <a:p>
            <a:pPr algn="ctr" eaLnBrk="0" hangingPunct="0"/>
            <a:endParaRPr lang="de-CH" sz="1600"/>
          </a:p>
        </p:txBody>
      </p:sp>
      <p:pic>
        <p:nvPicPr>
          <p:cNvPr id="22" name="Picture 135"/>
          <p:cNvPicPr>
            <a:picLocks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63" y="6629389"/>
            <a:ext cx="611015" cy="11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314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  <a:endParaRPr lang="de-CH" sz="750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81569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hf hdr="0" ft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FDF2E4-A945-1554-F556-DE5A2CD1D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466286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9" imgW="473" imgH="473" progId="TCLayout.ActiveDocument.1">
                  <p:embed/>
                </p:oleObj>
              </mc:Choice>
              <mc:Fallback>
                <p:oleObj name="Diapositive think-cell" r:id="rId39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FDF2E4-A945-1554-F556-DE5A2CD1D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295D2C-D19D-413E-A9E6-7FFDBE0BAF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5D8A234-685C-4F2F-98F3-201A11B1DEE4}"/>
              </a:ext>
            </a:extLst>
          </p:cNvPr>
          <p:cNvSpPr/>
          <p:nvPr userDrawn="1"/>
        </p:nvSpPr>
        <p:spPr>
          <a:xfrm>
            <a:off x="11509503" y="6244170"/>
            <a:ext cx="222250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r"/>
            <a:fld id="{F2CC696A-08CF-DF45-B107-982D2B22E78B}" type="slidenum">
              <a:rPr lang="en-US" sz="1000" smtClean="0">
                <a:solidFill>
                  <a:schemeClr val="tx1"/>
                </a:solidFill>
              </a:rPr>
              <a:pPr lvl="0" algn="r"/>
              <a:t>‹N°›</a:t>
            </a:fld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781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  <p:sldLayoutId id="2147483846" r:id="rId28"/>
    <p:sldLayoutId id="2147483847" r:id="rId29"/>
    <p:sldLayoutId id="2147483848" r:id="rId30"/>
    <p:sldLayoutId id="2147483849" r:id="rId31"/>
    <p:sldLayoutId id="2147483850" r:id="rId32"/>
    <p:sldLayoutId id="2147483851" r:id="rId33"/>
    <p:sldLayoutId id="2147483852" r:id="rId34"/>
    <p:sldLayoutId id="2147483853" r:id="rId35"/>
    <p:sldLayoutId id="2147483854" r:id="rId3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1938" indent="-261938" algn="l" defTabSz="914377" rtl="0" eaLnBrk="1" latinLnBrk="0" hangingPunct="1">
        <a:lnSpc>
          <a:spcPct val="90000"/>
        </a:lnSpc>
        <a:spcBef>
          <a:spcPts val="1000"/>
        </a:spcBef>
        <a:buSzPct val="125000"/>
        <a:buFont typeface="Century Gothic" panose="020B0502020202020204" pitchFamily="34" charset="0"/>
        <a:buChar char="•"/>
        <a:defRPr sz="2000" kern="12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1pPr>
      <a:lvl2pPr marL="449263" indent="-217488" algn="l" defTabSz="914377" rtl="0" eaLnBrk="1" latinLnBrk="0" hangingPunct="1">
        <a:lnSpc>
          <a:spcPct val="90000"/>
        </a:lnSpc>
        <a:spcBef>
          <a:spcPts val="500"/>
        </a:spcBef>
        <a:buSzPct val="110000"/>
        <a:buFont typeface="Arial" panose="020B0604020202020204" pitchFamily="34" charset="0"/>
        <a:buChar char="•"/>
        <a:defRPr sz="1800" kern="12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2pPr>
      <a:lvl3pPr marL="628650" indent="-179388" algn="l" defTabSz="914377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•"/>
        <a:defRPr sz="1600" kern="12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3pPr>
      <a:lvl4pPr marL="895350" indent="-184150" algn="l" defTabSz="914377" rtl="0" eaLnBrk="1" latinLnBrk="0" hangingPunct="1">
        <a:lnSpc>
          <a:spcPct val="90000"/>
        </a:lnSpc>
        <a:spcBef>
          <a:spcPts val="500"/>
        </a:spcBef>
        <a:buSzPct val="90000"/>
        <a:buFont typeface="Century Gothic" panose="020B0502020202020204" pitchFamily="34" charset="0"/>
        <a:buChar char="•"/>
        <a:defRPr sz="1400" kern="12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4pPr>
      <a:lvl5pPr marL="1163638" indent="-176213" algn="l" defTabSz="914377" rtl="0" eaLnBrk="1" latinLnBrk="0" hangingPunct="1">
        <a:lnSpc>
          <a:spcPct val="90000"/>
        </a:lnSpc>
        <a:spcBef>
          <a:spcPts val="500"/>
        </a:spcBef>
        <a:buSzPct val="80000"/>
        <a:buFont typeface="Century Gothic" panose="020B0502020202020204" pitchFamily="34" charset="0"/>
        <a:buChar char="•"/>
        <a:defRPr sz="1200" kern="1200">
          <a:solidFill>
            <a:schemeClr val="accent6">
              <a:lumMod val="50000"/>
            </a:schemeClr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8">
          <p15:clr>
            <a:srgbClr val="F26B43"/>
          </p15:clr>
        </p15:guide>
        <p15:guide id="2" pos="7355">
          <p15:clr>
            <a:srgbClr val="F26B43"/>
          </p15:clr>
        </p15:guide>
        <p15:guide id="3" pos="325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731">
          <p15:clr>
            <a:srgbClr val="F26B43"/>
          </p15:clr>
        </p15:guide>
        <p15:guide id="9" orient="horz" pos="504">
          <p15:clr>
            <a:srgbClr val="F26B43"/>
          </p15:clr>
        </p15:guide>
        <p15:guide id="10" orient="horz" pos="370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dirty="0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 dirty="0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 dirty="0">
                <a:solidFill>
                  <a:schemeClr val="bg1"/>
                </a:solidFill>
              </a:rPr>
              <a:t>Arbeitsbereich</a:t>
            </a:r>
            <a:endParaRPr lang="de-CH" sz="750" b="1" dirty="0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10423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63824782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270" imgH="270" progId="TCLayout.ActiveDocument.1">
                  <p:embed/>
                </p:oleObj>
              </mc:Choice>
              <mc:Fallback>
                <p:oleObj name="Diapositive think-cell" r:id="rId9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>
                <a:solidFill>
                  <a:schemeClr val="bg1"/>
                </a:solidFill>
              </a:rPr>
              <a:t>Arbeitsbereich</a:t>
            </a:r>
            <a:endParaRPr lang="de-CH" sz="750" b="1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77817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4466823"/>
              </p:ext>
            </p:ext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270" imgH="270" progId="TCLayout.ActiveDocument.1">
                  <p:embed/>
                </p:oleObj>
              </mc:Choice>
              <mc:Fallback>
                <p:oleObj name="Diapositive think-cell" r:id="rId1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Clr>
                <a:schemeClr val="accent1"/>
              </a:buClr>
              <a:buFontTx/>
              <a:buNone/>
            </a:pPr>
            <a:endParaRPr lang="de-CH" sz="24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741" y="259200"/>
            <a:ext cx="11517273" cy="4329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3600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dirty="0"/>
              <a:t>Titelmasterformat durch Klicken bearbeiten</a:t>
            </a:r>
          </a:p>
        </p:txBody>
      </p:sp>
      <p:sp>
        <p:nvSpPr>
          <p:cNvPr id="68" name="Fußzeilenplatzhalter 24"/>
          <p:cNvSpPr txBox="1">
            <a:spLocks/>
          </p:cNvSpPr>
          <p:nvPr/>
        </p:nvSpPr>
        <p:spPr>
          <a:xfrm>
            <a:off x="1440655" y="6640615"/>
            <a:ext cx="76317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89898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6" name="Gerade Verbindung 45"/>
          <p:cNvCxnSpPr/>
          <p:nvPr userDrawn="1"/>
        </p:nvCxnSpPr>
        <p:spPr>
          <a:xfrm>
            <a:off x="-80306" y="1123644"/>
            <a:ext cx="0" cy="540098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9"/>
          <p:cNvCxnSpPr>
            <a:cxnSpLocks/>
          </p:cNvCxnSpPr>
          <p:nvPr/>
        </p:nvCxnSpPr>
        <p:spPr>
          <a:xfrm flipH="1">
            <a:off x="-140630" y="1123492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39"/>
          <p:cNvCxnSpPr>
            <a:cxnSpLocks/>
          </p:cNvCxnSpPr>
          <p:nvPr/>
        </p:nvCxnSpPr>
        <p:spPr>
          <a:xfrm flipH="1">
            <a:off x="-140630" y="6524625"/>
            <a:ext cx="13292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31"/>
          <p:cNvCxnSpPr/>
          <p:nvPr/>
        </p:nvCxnSpPr>
        <p:spPr>
          <a:xfrm rot="5400000" flipH="1">
            <a:off x="288856" y="6912524"/>
            <a:ext cx="90000" cy="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>
          <a:xfrm flipV="1">
            <a:off x="336739" y="6930975"/>
            <a:ext cx="11507526" cy="1"/>
          </a:xfrm>
          <a:prstGeom prst="line">
            <a:avLst/>
          </a:prstGeom>
          <a:ln w="38100">
            <a:solidFill>
              <a:schemeClr val="bg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/>
          <p:cNvSpPr txBox="1"/>
          <p:nvPr/>
        </p:nvSpPr>
        <p:spPr bwMode="auto">
          <a:xfrm>
            <a:off x="5543599" y="6993396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 dirty="0">
                <a:solidFill>
                  <a:schemeClr val="bg1"/>
                </a:solidFill>
              </a:rPr>
              <a:t>Arbeitsbereich</a:t>
            </a:r>
          </a:p>
        </p:txBody>
      </p:sp>
      <p:cxnSp>
        <p:nvCxnSpPr>
          <p:cNvPr id="82" name="Gerade Verbindung 39"/>
          <p:cNvCxnSpPr>
            <a:cxnSpLocks/>
          </p:cNvCxnSpPr>
          <p:nvPr/>
        </p:nvCxnSpPr>
        <p:spPr>
          <a:xfrm flipH="1">
            <a:off x="336992" y="6865522"/>
            <a:ext cx="1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39"/>
          <p:cNvCxnSpPr>
            <a:cxnSpLocks/>
          </p:cNvCxnSpPr>
          <p:nvPr/>
        </p:nvCxnSpPr>
        <p:spPr>
          <a:xfrm>
            <a:off x="11853786" y="6862352"/>
            <a:ext cx="0" cy="216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 bwMode="auto">
          <a:xfrm rot="16200000">
            <a:off x="-743704" y="3755342"/>
            <a:ext cx="9671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0" rIns="36000" bIns="0" rtlCol="0">
            <a:spAutoFit/>
          </a:bodyPr>
          <a:lstStyle/>
          <a:p>
            <a:pPr eaLnBrk="0" hangingPunct="0">
              <a:buClr>
                <a:schemeClr val="tx2"/>
              </a:buClr>
              <a:buSzPct val="100000"/>
            </a:pPr>
            <a:r>
              <a:rPr lang="de-CH" sz="1000" b="1" dirty="0">
                <a:solidFill>
                  <a:schemeClr val="bg1"/>
                </a:solidFill>
              </a:rPr>
              <a:t>Arbeitsbereich</a:t>
            </a:r>
            <a:endParaRPr lang="de-CH" sz="750" b="1" dirty="0">
              <a:solidFill>
                <a:schemeClr val="bg1"/>
              </a:solidFill>
            </a:endParaRPr>
          </a:p>
        </p:txBody>
      </p:sp>
      <p:sp>
        <p:nvSpPr>
          <p:cNvPr id="5" name="Gleichschenkliges Dreieck 4"/>
          <p:cNvSpPr/>
          <p:nvPr/>
        </p:nvSpPr>
        <p:spPr bwMode="auto">
          <a:xfrm rot="16200000">
            <a:off x="12200772" y="3754871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-123648" y="3757665"/>
            <a:ext cx="112342" cy="132938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6024879" y="6861324"/>
            <a:ext cx="138267" cy="108012"/>
          </a:xfrm>
          <a:prstGeom prst="triangle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lang="de-CH" sz="1400" dirty="0" err="1"/>
          </a:p>
        </p:txBody>
      </p:sp>
      <p:pic>
        <p:nvPicPr>
          <p:cNvPr id="8" name="MigrosClassification_P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5872224" y="116632"/>
            <a:ext cx="447552" cy="363636"/>
          </a:xfrm>
          <a:prstGeom prst="rect">
            <a:avLst/>
          </a:prstGeom>
        </p:spPr>
      </p:pic>
      <p:sp>
        <p:nvSpPr>
          <p:cNvPr id="21" name="Textplatzhalter 10"/>
          <p:cNvSpPr>
            <a:spLocks noGrp="1"/>
          </p:cNvSpPr>
          <p:nvPr>
            <p:ph type="body" idx="1"/>
          </p:nvPr>
        </p:nvSpPr>
        <p:spPr>
          <a:xfrm>
            <a:off x="336060" y="1123495"/>
            <a:ext cx="11517273" cy="4525963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969024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3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ｰ"/>
        <a:defRPr sz="1600">
          <a:solidFill>
            <a:schemeClr val="tx1"/>
          </a:solidFill>
          <a:latin typeface="+mn-lt"/>
        </a:defRPr>
      </a:lvl3pPr>
      <a:lvl4pPr marL="536575" indent="-1778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 Unicode MS" panose="020B0604020202020204" pitchFamily="34" charset="-128"/>
        <a:buChar char="-"/>
        <a:defRPr sz="1600">
          <a:solidFill>
            <a:schemeClr val="tx1"/>
          </a:solidFill>
          <a:latin typeface="+mn-lt"/>
        </a:defRPr>
      </a:lvl4pPr>
      <a:lvl5pPr marL="717550" indent="-180975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lang="de-CH" sz="1600" dirty="0">
          <a:solidFill>
            <a:schemeClr val="tx1"/>
          </a:solidFill>
          <a:latin typeface="+mn-lt"/>
        </a:defRPr>
      </a:lvl5pPr>
      <a:lvl6pPr marL="26749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6pPr>
      <a:lvl7pPr marL="31321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7pPr>
      <a:lvl8pPr marL="35893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8pPr>
      <a:lvl9pPr marL="4046538" indent="-201613" algn="l" rtl="0" eaLnBrk="1" fontAlgn="base" hangingPunct="1">
        <a:lnSpc>
          <a:spcPts val="2700"/>
        </a:lnSpc>
        <a:spcBef>
          <a:spcPct val="0"/>
        </a:spcBef>
        <a:spcAft>
          <a:spcPct val="40000"/>
        </a:spcAft>
        <a:buClr>
          <a:schemeClr val="tx2"/>
        </a:buClr>
        <a:buFont typeface="Times" pitchFamily="18" charset="0"/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79AAA24-F3D6-4DFB-BFAF-9D80163D9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8385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8" imgW="411" imgH="411" progId="TCLayout.ActiveDocument.1">
                  <p:embed/>
                </p:oleObj>
              </mc:Choice>
              <mc:Fallback>
                <p:oleObj name="Diapositive think-cell" r:id="rId28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9AAA24-F3D6-4DFB-BFAF-9D80163D9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BB907FC-8EEA-4706-98EB-1F20D0D83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252413"/>
            <a:ext cx="11685600" cy="7746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BCB51EB-182E-4020-8D86-3EF8848E6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25" y="1027113"/>
            <a:ext cx="11687175" cy="5580062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  <a:p>
            <a:pPr lvl="5"/>
            <a:r>
              <a:rPr lang="de-CH"/>
              <a:t>Sechste Ebene</a:t>
            </a:r>
          </a:p>
          <a:p>
            <a:pPr lvl="6"/>
            <a:r>
              <a:rPr lang="de-CH"/>
              <a:t>Siebte Ebene</a:t>
            </a:r>
          </a:p>
          <a:p>
            <a:pPr lvl="7"/>
            <a:r>
              <a:rPr lang="de-CH"/>
              <a:t>Achte Ebene</a:t>
            </a:r>
          </a:p>
          <a:p>
            <a:pPr lvl="8"/>
            <a:r>
              <a:rPr lang="de-CH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6B66F5F-246B-41C3-A7EF-74B5848C43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6100" y="6607967"/>
            <a:ext cx="565150" cy="252000"/>
          </a:xfrm>
          <a:prstGeom prst="rect">
            <a:avLst/>
          </a:prstGeom>
        </p:spPr>
        <p:txBody>
          <a:bodyPr vert="horz" lIns="0" tIns="6480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474FE4ED-EC58-4A55-8DC1-220573FC8C54}" type="datetime1">
              <a:rPr lang="de-DE" smtClean="0"/>
              <a:t>29.02.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7469D3-D758-4D66-B52B-335D0B004E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27149" y="6607967"/>
            <a:ext cx="9325611" cy="252000"/>
          </a:xfrm>
          <a:prstGeom prst="rect">
            <a:avLst/>
          </a:prstGeom>
        </p:spPr>
        <p:txBody>
          <a:bodyPr vert="horz" lIns="0" tIns="6480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CH"/>
              <a:t>Société Coopérative Migros Genève | Supermarchés, Gastronomie &amp; Filières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B6E1BC-0BF1-4586-8DE0-316908CCD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0825" y="6607967"/>
            <a:ext cx="295274" cy="252000"/>
          </a:xfrm>
          <a:prstGeom prst="rect">
            <a:avLst/>
          </a:prstGeom>
        </p:spPr>
        <p:txBody>
          <a:bodyPr vert="horz" lIns="0" tIns="64800" rIns="0" bIns="0" rtlCol="0" anchor="t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0A6ABA92-B65E-42F5-BB28-73DA50746AED}" type="slidenum">
              <a:rPr lang="de-CH" smtClean="0"/>
              <a:pPr/>
              <a:t>‹N°›</a:t>
            </a:fld>
            <a:endParaRPr lang="de-CH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19C3476-BF69-F239-E56D-8A6F2CCB1A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3" t="47852" b="25843"/>
          <a:stretch/>
        </p:blipFill>
        <p:spPr>
          <a:xfrm>
            <a:off x="11412068" y="6650712"/>
            <a:ext cx="735674" cy="20737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ACC5F57-358D-030E-CBD4-536817836E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19" r="5961" b="52113"/>
          <a:stretch/>
        </p:blipFill>
        <p:spPr>
          <a:xfrm>
            <a:off x="10652760" y="6609729"/>
            <a:ext cx="757723" cy="194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044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  <p:sldLayoutId id="2147483902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 2" panose="050201020105070707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Wingdings 2" panose="05020102010507070707" pitchFamily="18" charset="2"/>
        <a:buChar char="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>
          <p15:clr>
            <a:srgbClr val="F26B43"/>
          </p15:clr>
        </p15:guide>
        <p15:guide id="2" pos="7520">
          <p15:clr>
            <a:srgbClr val="F26B43"/>
          </p15:clr>
        </p15:guide>
        <p15:guide id="3" orient="horz" pos="159">
          <p15:clr>
            <a:srgbClr val="F26B43"/>
          </p15:clr>
        </p15:guide>
        <p15:guide id="6" orient="horz" pos="41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8.xml"/><Relationship Id="rId7" Type="http://schemas.openxmlformats.org/officeDocument/2006/relationships/oleObject" Target="../embeddings/oleObject31.bin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3.xml"/><Relationship Id="rId10" Type="http://schemas.openxmlformats.org/officeDocument/2006/relationships/image" Target="../media/image15.png"/><Relationship Id="rId4" Type="http://schemas.openxmlformats.org/officeDocument/2006/relationships/tags" Target="../tags/tag49.xml"/><Relationship Id="rId9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17" Type="http://schemas.openxmlformats.org/officeDocument/2006/relationships/image" Target="../media/image46.sv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5.png"/><Relationship Id="rId1" Type="http://schemas.openxmlformats.org/officeDocument/2006/relationships/tags" Target="../tags/tag50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8.emf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1.xml"/><Relationship Id="rId6" Type="http://schemas.openxmlformats.org/officeDocument/2006/relationships/chart" Target="../charts/chart1.xml"/><Relationship Id="rId11" Type="http://schemas.openxmlformats.org/officeDocument/2006/relationships/image" Target="../media/image51.png"/><Relationship Id="rId5" Type="http://schemas.openxmlformats.org/officeDocument/2006/relationships/image" Target="../media/image8.emf"/><Relationship Id="rId10" Type="http://schemas.openxmlformats.org/officeDocument/2006/relationships/image" Target="../media/image50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5" Type="http://schemas.openxmlformats.org/officeDocument/2006/relationships/image" Target="../media/image51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Relationship Id="rId14" Type="http://schemas.openxmlformats.org/officeDocument/2006/relationships/image" Target="../media/image6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4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F6324CC-F42F-7DAE-A026-EB53988250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7188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473" imgH="473" progId="TCLayout.ActiveDocument.1">
                  <p:embed/>
                </p:oleObj>
              </mc:Choice>
              <mc:Fallback>
                <p:oleObj name="Diapositive think-cell" r:id="rId7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6324CC-F42F-7DAE-A026-EB5398825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EC83C201-EF3F-1FF5-1555-4000152DED35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6" b="4486"/>
          <a:stretch/>
        </p:blipFill>
        <p:spPr bwMode="auto">
          <a:xfrm>
            <a:off x="93147" y="115705"/>
            <a:ext cx="12027756" cy="667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42DC11-3405-A42A-BDBA-E7B1C4FE0B8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50826" y="252001"/>
            <a:ext cx="5955663" cy="1348199"/>
          </a:xfrm>
          <a:solidFill>
            <a:schemeClr val="accent5"/>
          </a:solidFill>
        </p:spPr>
        <p:txBody>
          <a:bodyPr/>
          <a:lstStyle/>
          <a:p>
            <a:r>
              <a:rPr lang="fr-CH" dirty="0"/>
              <a:t>Diminution de la consommation énergétique à </a:t>
            </a:r>
            <a:r>
              <a:rPr lang="fr-CH"/>
              <a:t>Migros Genève</a:t>
            </a:r>
            <a:endParaRPr lang="fr" dirty="0"/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0CBA9366-2E7F-62AD-5A98-BA8316356EA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824" y="1682709"/>
            <a:ext cx="4264026" cy="35866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 2" panose="05020102010507070707" pitchFamily="18" charset="2"/>
              <a:buChar char="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 2" panose="05020102010507070707" pitchFamily="18" charset="2"/>
              <a:buChar char="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ncontres du Management </a:t>
            </a:r>
            <a:r>
              <a:rPr lang="fr-CH" dirty="0">
                <a:solidFill>
                  <a:srgbClr val="000000"/>
                </a:solidFill>
                <a:latin typeface="Arial" panose="020B0604020202020204"/>
              </a:rPr>
              <a:t>Durable</a:t>
            </a: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CCIG</a:t>
            </a:r>
          </a:p>
        </p:txBody>
      </p:sp>
      <p:pic>
        <p:nvPicPr>
          <p:cNvPr id="10" name="Picture 2" descr="Migros Genève | Carouge">
            <a:extLst>
              <a:ext uri="{FF2B5EF4-FFF2-40B4-BE49-F238E27FC236}">
                <a16:creationId xmlns:a16="http://schemas.microsoft.com/office/drawing/2014/main" id="{FBD11B20-B1B0-617A-A9BB-CE95AB4FEF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18" b="25514"/>
          <a:stretch/>
        </p:blipFill>
        <p:spPr bwMode="auto">
          <a:xfrm>
            <a:off x="10389871" y="5931164"/>
            <a:ext cx="1663262" cy="811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9C723BA3-0E7D-94BC-BF12-40A5397D623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0824" y="2101391"/>
            <a:ext cx="3041015" cy="35866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 2" panose="05020102010507070707" pitchFamily="18" charset="2"/>
              <a:buChar char="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 2" panose="05020102010507070707" pitchFamily="18" charset="2"/>
              <a:buChar char="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75757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 mars 2024, Charlotte Lecocq</a:t>
            </a:r>
          </a:p>
        </p:txBody>
      </p:sp>
    </p:spTree>
    <p:extLst>
      <p:ext uri="{BB962C8B-B14F-4D97-AF65-F5344CB8AC3E}">
        <p14:creationId xmlns:p14="http://schemas.microsoft.com/office/powerpoint/2010/main" val="9390611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1E81DD9-1190-4430-B61E-D7793D0747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7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73" imgH="473" progId="TCLayout.ActiveDocument.1">
                  <p:embed/>
                </p:oleObj>
              </mc:Choice>
              <mc:Fallback>
                <p:oleObj name="Diapositive think-cell" r:id="rId4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E81DD9-1190-4430-B61E-D7793D0747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E6DD30FD-F6A1-4F93-B748-011C1CE7638E}"/>
              </a:ext>
            </a:extLst>
          </p:cNvPr>
          <p:cNvSpPr/>
          <p:nvPr/>
        </p:nvSpPr>
        <p:spPr bwMode="auto">
          <a:xfrm>
            <a:off x="4799856" y="1551754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D3A40FF2-67D6-470D-B384-0E72562AC5D9}"/>
              </a:ext>
            </a:extLst>
          </p:cNvPr>
          <p:cNvSpPr/>
          <p:nvPr/>
        </p:nvSpPr>
        <p:spPr bwMode="auto">
          <a:xfrm>
            <a:off x="8688288" y="1567975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E5A91116-83C2-4D16-A0AC-873ABC96A1F7}"/>
              </a:ext>
            </a:extLst>
          </p:cNvPr>
          <p:cNvSpPr/>
          <p:nvPr/>
        </p:nvSpPr>
        <p:spPr bwMode="auto">
          <a:xfrm>
            <a:off x="8688288" y="3970387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85BF84E8-6B26-49D0-9459-A7959135B23B}"/>
              </a:ext>
            </a:extLst>
          </p:cNvPr>
          <p:cNvSpPr/>
          <p:nvPr/>
        </p:nvSpPr>
        <p:spPr bwMode="auto">
          <a:xfrm>
            <a:off x="4799856" y="3948364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157A4FB9-3C22-4630-BA28-44549C97BA20}"/>
              </a:ext>
            </a:extLst>
          </p:cNvPr>
          <p:cNvSpPr/>
          <p:nvPr/>
        </p:nvSpPr>
        <p:spPr bwMode="auto">
          <a:xfrm>
            <a:off x="767408" y="3948364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16E99583-DDE9-4956-8338-B8DF14D6B926}"/>
              </a:ext>
            </a:extLst>
          </p:cNvPr>
          <p:cNvSpPr/>
          <p:nvPr/>
        </p:nvSpPr>
        <p:spPr bwMode="auto">
          <a:xfrm>
            <a:off x="767408" y="1567975"/>
            <a:ext cx="2376264" cy="2177777"/>
          </a:xfrm>
          <a:prstGeom prst="roundRect">
            <a:avLst/>
          </a:prstGeom>
          <a:ln>
            <a:solidFill>
              <a:srgbClr val="FF66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7AA4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CH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A93F06F-3138-4E0B-A3FF-D5AC44223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55847"/>
            <a:ext cx="11107738" cy="576293"/>
          </a:xfrm>
        </p:spPr>
        <p:txBody>
          <a:bodyPr vert="horz"/>
          <a:lstStyle/>
          <a:p>
            <a:r>
              <a:rPr lang="fr-CH" dirty="0"/>
              <a:t>Société Coopérative Migros Genève	</a:t>
            </a:r>
          </a:p>
        </p:txBody>
      </p:sp>
      <p:pic>
        <p:nvPicPr>
          <p:cNvPr id="13" name="Graphique 12" descr="Groupe avec un remplissage uni">
            <a:extLst>
              <a:ext uri="{FF2B5EF4-FFF2-40B4-BE49-F238E27FC236}">
                <a16:creationId xmlns:a16="http://schemas.microsoft.com/office/drawing/2014/main" id="{3ADC1CF9-5A6E-4F3F-B765-36BAE6CE7E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72154" y="2453998"/>
            <a:ext cx="1166773" cy="1166773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9FC4C3B3-BB4F-4929-A9E5-6656B2B9902B}"/>
              </a:ext>
            </a:extLst>
          </p:cNvPr>
          <p:cNvSpPr txBox="1"/>
          <p:nvPr/>
        </p:nvSpPr>
        <p:spPr bwMode="auto">
          <a:xfrm>
            <a:off x="1002909" y="1901979"/>
            <a:ext cx="19052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ctif : 2463 Personn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8F4ABBA-8B48-4295-8F35-01C9C29EB1E7}"/>
              </a:ext>
            </a:extLst>
          </p:cNvPr>
          <p:cNvSpPr txBox="1"/>
          <p:nvPr/>
        </p:nvSpPr>
        <p:spPr bwMode="auto">
          <a:xfrm>
            <a:off x="5035357" y="1901979"/>
            <a:ext cx="190526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.4 a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ienneté moyenn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phique 16" descr="Poignée de main contour">
            <a:extLst>
              <a:ext uri="{FF2B5EF4-FFF2-40B4-BE49-F238E27FC236}">
                <a16:creationId xmlns:a16="http://schemas.microsoft.com/office/drawing/2014/main" id="{D7F55349-A433-445A-8C07-B02093E20C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30788" y="2580184"/>
            <a:ext cx="914400" cy="91440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2F177F6B-FCF6-4D20-84DB-660DBA593E29}"/>
              </a:ext>
            </a:extLst>
          </p:cNvPr>
          <p:cNvSpPr txBox="1"/>
          <p:nvPr/>
        </p:nvSpPr>
        <p:spPr bwMode="auto">
          <a:xfrm>
            <a:off x="8688288" y="1901979"/>
            <a:ext cx="237626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3 </a:t>
            </a:r>
            <a:r>
              <a:rPr lang="fr-CH" sz="1600" kern="0" dirty="0">
                <a:solidFill>
                  <a:srgbClr val="000000"/>
                </a:solidFill>
                <a:latin typeface="Arial"/>
              </a:rPr>
              <a:t>Magasi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 Restaurant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797B360-26CF-45B3-9509-4D552DA1A231}"/>
              </a:ext>
            </a:extLst>
          </p:cNvPr>
          <p:cNvSpPr txBox="1"/>
          <p:nvPr/>
        </p:nvSpPr>
        <p:spPr bwMode="auto">
          <a:xfrm>
            <a:off x="8923789" y="4210152"/>
            <a:ext cx="19052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4 mill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mbre de client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1E71AA6-ED10-4AAC-9DFD-BC70A6EB6343}"/>
              </a:ext>
            </a:extLst>
          </p:cNvPr>
          <p:cNvSpPr txBox="1"/>
          <p:nvPr/>
        </p:nvSpPr>
        <p:spPr bwMode="auto">
          <a:xfrm>
            <a:off x="1002909" y="4210152"/>
            <a:ext cx="19052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5 mill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 en CHF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E99447F-53D4-468D-A975-2EA053AFDADD}"/>
              </a:ext>
            </a:extLst>
          </p:cNvPr>
          <p:cNvSpPr txBox="1"/>
          <p:nvPr/>
        </p:nvSpPr>
        <p:spPr bwMode="auto">
          <a:xfrm>
            <a:off x="5035357" y="4210152"/>
            <a:ext cx="190526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6’000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mbre de coopérateur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37AA41"/>
              </a:buClr>
              <a:buSzTx/>
              <a:buFontTx/>
              <a:buNone/>
              <a:tabLst/>
              <a:defRPr/>
            </a:pPr>
            <a:r>
              <a:rPr kumimoji="0" lang="fr-CH" sz="1600" b="0" i="0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endParaRPr kumimoji="0" lang="fr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Graphique 24" descr="Pièces contour">
            <a:extLst>
              <a:ext uri="{FF2B5EF4-FFF2-40B4-BE49-F238E27FC236}">
                <a16:creationId xmlns:a16="http://schemas.microsoft.com/office/drawing/2014/main" id="{659E11E2-21D4-4F4A-863C-D564D286C4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98340" y="4929971"/>
            <a:ext cx="914400" cy="914400"/>
          </a:xfrm>
          <a:prstGeom prst="rect">
            <a:avLst/>
          </a:prstGeom>
        </p:spPr>
      </p:pic>
      <p:pic>
        <p:nvPicPr>
          <p:cNvPr id="27" name="Graphique 26" descr="Chariot de courses contour">
            <a:extLst>
              <a:ext uri="{FF2B5EF4-FFF2-40B4-BE49-F238E27FC236}">
                <a16:creationId xmlns:a16="http://schemas.microsoft.com/office/drawing/2014/main" id="{5329310B-EFBB-4C9E-AC38-68A9A2C5567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19220" y="4929971"/>
            <a:ext cx="914400" cy="914400"/>
          </a:xfrm>
          <a:prstGeom prst="rect">
            <a:avLst/>
          </a:prstGeom>
        </p:spPr>
      </p:pic>
      <p:pic>
        <p:nvPicPr>
          <p:cNvPr id="29" name="Graphique 28" descr="Magasin contour">
            <a:extLst>
              <a:ext uri="{FF2B5EF4-FFF2-40B4-BE49-F238E27FC236}">
                <a16:creationId xmlns:a16="http://schemas.microsoft.com/office/drawing/2014/main" id="{2F466E77-E066-4DCE-8CA3-1F5DB5627BD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19220" y="2580184"/>
            <a:ext cx="914400" cy="914400"/>
          </a:xfrm>
          <a:prstGeom prst="rect">
            <a:avLst/>
          </a:prstGeom>
        </p:spPr>
      </p:pic>
      <p:pic>
        <p:nvPicPr>
          <p:cNvPr id="31" name="Graphique 30" descr="Famille avec deux enfants contour">
            <a:extLst>
              <a:ext uri="{FF2B5EF4-FFF2-40B4-BE49-F238E27FC236}">
                <a16:creationId xmlns:a16="http://schemas.microsoft.com/office/drawing/2014/main" id="{5892DCC1-E742-4992-8AFE-DD38BCFDBEB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530788" y="4929971"/>
            <a:ext cx="914400" cy="914400"/>
          </a:xfrm>
          <a:prstGeom prst="rect">
            <a:avLst/>
          </a:prstGeom>
        </p:spPr>
      </p:pic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7E005492-AB55-7607-4113-A420AF76EC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3" y="878168"/>
            <a:ext cx="6500387" cy="391628"/>
          </a:xfrm>
        </p:spPr>
        <p:txBody>
          <a:bodyPr/>
          <a:lstStyle/>
          <a:p>
            <a:r>
              <a:rPr lang="fr-CH" b="0" dirty="0">
                <a:solidFill>
                  <a:srgbClr val="FF6500"/>
                </a:solidFill>
              </a:rPr>
              <a:t>Une coopérative inscrite au RC depuis 1945</a:t>
            </a:r>
          </a:p>
        </p:txBody>
      </p:sp>
    </p:spTree>
    <p:extLst>
      <p:ext uri="{BB962C8B-B14F-4D97-AF65-F5344CB8AC3E}">
        <p14:creationId xmlns:p14="http://schemas.microsoft.com/office/powerpoint/2010/main" val="27694319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87F36838-8D14-0131-1D93-A391B7584F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22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73" imgH="473" progId="TCLayout.ActiveDocument.1">
                  <p:embed/>
                </p:oleObj>
              </mc:Choice>
              <mc:Fallback>
                <p:oleObj name="Diapositive think-cell" r:id="rId4" imgW="473" imgH="47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F36838-8D14-0131-1D93-A391B7584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0F0482DD-9F53-E983-2B7D-47627A0B170A}"/>
              </a:ext>
            </a:extLst>
          </p:cNvPr>
          <p:cNvGraphicFramePr>
            <a:graphicFrameLocks/>
          </p:cNvGraphicFramePr>
          <p:nvPr/>
        </p:nvGraphicFramePr>
        <p:xfrm>
          <a:off x="550861" y="1886007"/>
          <a:ext cx="4551293" cy="3833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Titre 2">
            <a:extLst>
              <a:ext uri="{FF2B5EF4-FFF2-40B4-BE49-F238E27FC236}">
                <a16:creationId xmlns:a16="http://schemas.microsoft.com/office/drawing/2014/main" id="{A749E63D-F214-EBB0-50C9-BB202202E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16" y="455847"/>
            <a:ext cx="11516300" cy="576293"/>
          </a:xfrm>
        </p:spPr>
        <p:txBody>
          <a:bodyPr vert="horz"/>
          <a:lstStyle/>
          <a:p>
            <a:r>
              <a:rPr lang="fr-FR" spc="-100" dirty="0"/>
              <a:t>7 leviers pour atteindre -7GWh </a:t>
            </a:r>
            <a:r>
              <a:rPr lang="fr-FR" spc="-100" dirty="0">
                <a:solidFill>
                  <a:srgbClr val="FF6500"/>
                </a:solidFill>
              </a:rPr>
              <a:t>(75% techniques / 25% d’écogestes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E48AE19-E763-821E-F80A-7905C0FE12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916" y="5794431"/>
            <a:ext cx="11107738" cy="330072"/>
          </a:xfrm>
        </p:spPr>
        <p:txBody>
          <a:bodyPr/>
          <a:lstStyle/>
          <a:p>
            <a:r>
              <a:rPr lang="fr-FR" sz="1200" b="0" spc="-30" dirty="0">
                <a:solidFill>
                  <a:srgbClr val="FF6500"/>
                </a:solidFill>
              </a:rPr>
              <a:t>L’ensemble des actions sont déjà identifiées. Passer l’objectif d’écogeste de 4 à 8% permettrait l’atteinte de l’objectif de -9GWh.</a:t>
            </a:r>
            <a:endParaRPr lang="en-GB" sz="1200" b="0" spc="-30" dirty="0">
              <a:solidFill>
                <a:srgbClr val="FF6500"/>
              </a:solidFill>
            </a:endParaRP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0C88A8ED-3AA6-72CF-670D-B65D84E20A5C}"/>
              </a:ext>
            </a:extLst>
          </p:cNvPr>
          <p:cNvSpPr txBox="1">
            <a:spLocks/>
          </p:cNvSpPr>
          <p:nvPr/>
        </p:nvSpPr>
        <p:spPr>
          <a:xfrm rot="16200000">
            <a:off x="-475861" y="3579839"/>
            <a:ext cx="1745665" cy="153888"/>
          </a:xfrm>
          <a:prstGeom prst="rect">
            <a:avLst/>
          </a:prstGeom>
        </p:spPr>
        <p:txBody>
          <a:bodyPr vert="horz" wrap="square" lIns="72000" tIns="0" rIns="72000" bIns="0" rtlCol="0" anchor="ctr">
            <a:spAutoFit/>
          </a:bodyPr>
          <a:lstStyle>
            <a:defPPr>
              <a:defRPr lang="en-US"/>
            </a:defPPr>
            <a:lvl1pPr indent="0" defTabSz="914377">
              <a:lnSpc>
                <a:spcPct val="100000"/>
              </a:lnSpc>
              <a:spcBef>
                <a:spcPts val="0"/>
              </a:spcBef>
              <a:buSzPct val="125000"/>
              <a:buFont typeface="Century Gothic" panose="020B0502020202020204" pitchFamily="34" charset="0"/>
              <a:buNone/>
              <a:defRPr sz="1600" b="0" baseline="0">
                <a:solidFill>
                  <a:schemeClr val="accent1"/>
                </a:solidFill>
              </a:defRPr>
            </a:lvl1pPr>
            <a:lvl2pPr marL="449263" indent="-217488" defTabSz="914377">
              <a:lnSpc>
                <a:spcPct val="9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200" baseline="0">
                <a:solidFill>
                  <a:schemeClr val="accent6">
                    <a:lumMod val="50000"/>
                  </a:schemeClr>
                </a:solidFill>
              </a:defRPr>
            </a:lvl2pPr>
            <a:lvl3pPr marL="628650" indent="-179388" defTabSz="914377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•"/>
              <a:defRPr sz="1200" baseline="0">
                <a:solidFill>
                  <a:schemeClr val="accent6">
                    <a:lumMod val="50000"/>
                  </a:schemeClr>
                </a:solidFill>
              </a:defRPr>
            </a:lvl3pPr>
            <a:lvl4pPr marL="895350" indent="-184150" defTabSz="914377">
              <a:lnSpc>
                <a:spcPct val="130000"/>
              </a:lnSpc>
              <a:spcBef>
                <a:spcPts val="500"/>
              </a:spcBef>
              <a:buSzPct val="90000"/>
              <a:buFont typeface="Century Gothic" panose="020B0502020202020204" pitchFamily="34" charset="0"/>
              <a:buChar char="•"/>
              <a:defRPr sz="1200" baseline="0">
                <a:solidFill>
                  <a:schemeClr val="accent6">
                    <a:lumMod val="50000"/>
                  </a:schemeClr>
                </a:solidFill>
              </a:defRPr>
            </a:lvl4pPr>
            <a:lvl5pPr marL="1163638" indent="-176213" defTabSz="914377">
              <a:lnSpc>
                <a:spcPct val="90000"/>
              </a:lnSpc>
              <a:spcBef>
                <a:spcPts val="500"/>
              </a:spcBef>
              <a:buSzPct val="80000"/>
              <a:buFont typeface="Century Gothic" panose="020B0502020202020204" pitchFamily="34" charset="0"/>
              <a:buChar char="•"/>
              <a:defRPr sz="1200" baseline="0">
                <a:solidFill>
                  <a:schemeClr val="accent6">
                    <a:lumMod val="50000"/>
                  </a:schemeClr>
                </a:solidFill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Century Gothic" panose="020B0502020202020204" pitchFamily="34" charset="0"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W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D7EE534-5E9B-10D7-462C-92C4A52B74DE}"/>
              </a:ext>
            </a:extLst>
          </p:cNvPr>
          <p:cNvSpPr/>
          <p:nvPr/>
        </p:nvSpPr>
        <p:spPr>
          <a:xfrm>
            <a:off x="5462081" y="2700813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48 actions de paramétrage sans investissement : 103 actions CVC / 145 actions Fro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32 actions déjà réalisées et 16 prévues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0CA0AF04-9716-A0B9-34FC-CE20EC62383F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2680855" y="2910947"/>
            <a:ext cx="2781226" cy="492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57DF5B82-4A23-8DAA-DEF6-8929ADD53C38}"/>
              </a:ext>
            </a:extLst>
          </p:cNvPr>
          <p:cNvSpPr/>
          <p:nvPr/>
        </p:nvSpPr>
        <p:spPr>
          <a:xfrm>
            <a:off x="5462081" y="2219085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énovations réalisées pour Plainpalais et Navigation avec environ 35% d’impact sur les consommations kWh. 10 rénovations en cours, planifiées ou à valider/planifier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9BD36FDE-8463-19D6-09BD-63EF5CF479C6}"/>
              </a:ext>
            </a:extLst>
          </p:cNvPr>
          <p:cNvCxnSpPr>
            <a:cxnSpLocks/>
            <a:stCxn id="7" idx="1"/>
          </p:cNvCxnSpPr>
          <p:nvPr/>
        </p:nvCxnSpPr>
        <p:spPr>
          <a:xfrm flipH="1">
            <a:off x="4817225" y="2434139"/>
            <a:ext cx="644856" cy="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271881F-C55F-B5E9-6D37-B9C7EE94253F}"/>
              </a:ext>
            </a:extLst>
          </p:cNvPr>
          <p:cNvSpPr/>
          <p:nvPr/>
        </p:nvSpPr>
        <p:spPr>
          <a:xfrm>
            <a:off x="5462081" y="3182541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ptimisation de 80% du parc de bacs réfrigérés avec 162 bacs autonomes à changer ou supprimer (réduction en même temps des coûts de maintenance)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1953AEC2-4DC0-9646-77CF-BFF43FC97771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1984664" y="3397595"/>
            <a:ext cx="3477417" cy="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84713CC-B5ED-AFE1-05EE-EDFE5828D606}"/>
              </a:ext>
            </a:extLst>
          </p:cNvPr>
          <p:cNvSpPr/>
          <p:nvPr/>
        </p:nvSpPr>
        <p:spPr>
          <a:xfrm>
            <a:off x="5462081" y="4145997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éploiement sur l’ensemble des sites de compteurs avec système d’alarme en cas de surconsommation permettant d’engager rapidement des actions correctives.  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1BE8B8-9360-8088-4762-AB558F707C24}"/>
              </a:ext>
            </a:extLst>
          </p:cNvPr>
          <p:cNvSpPr/>
          <p:nvPr/>
        </p:nvSpPr>
        <p:spPr>
          <a:xfrm>
            <a:off x="5462081" y="3664269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ctions de relamping LED et détecteur de présence sur les magasins non prévus d’être rénovés d’ici 2025 (Fusterie, Villereuse, Gland, Aéroport, Porte de Nyon etc.)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B3C823B-A2FF-9AD9-9CD8-B6C7D95DC975}"/>
              </a:ext>
            </a:extLst>
          </p:cNvPr>
          <p:cNvSpPr/>
          <p:nvPr/>
        </p:nvSpPr>
        <p:spPr>
          <a:xfrm>
            <a:off x="5462081" y="4627725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ermer les meubles froids et relamping LED de l'éclairage des meubles froid sur les sites de Carouge, Pommier, Gland, Lancy Onex, Villereuse.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2BB21A-E1D3-3CB0-E12C-F8042F4A7EA1}"/>
              </a:ext>
            </a:extLst>
          </p:cNvPr>
          <p:cNvSpPr/>
          <p:nvPr/>
        </p:nvSpPr>
        <p:spPr>
          <a:xfrm>
            <a:off x="5462080" y="5109453"/>
            <a:ext cx="6292115" cy="430107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éploiement et mise en œuvre des Check-List. Pilotage de la discipline opérationnelle des Check-List avec la mise en place d’un système de pilotage de la performance (-4%)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FC72C841-5D81-368A-5602-9D1CDFB58273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1808018" y="3879323"/>
            <a:ext cx="3654063" cy="0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C2BF513F-5CEC-CE7D-A364-44E4632966DA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1579418" y="4361051"/>
            <a:ext cx="3882663" cy="1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DFE75171-135F-CD51-FE5C-8A481B931049}"/>
              </a:ext>
            </a:extLst>
          </p:cNvPr>
          <p:cNvCxnSpPr>
            <a:cxnSpLocks/>
          </p:cNvCxnSpPr>
          <p:nvPr/>
        </p:nvCxnSpPr>
        <p:spPr>
          <a:xfrm flipH="1" flipV="1">
            <a:off x="1475509" y="4847807"/>
            <a:ext cx="3986572" cy="1225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9D34C841-3669-B4D7-574A-551055388023}"/>
              </a:ext>
            </a:extLst>
          </p:cNvPr>
          <p:cNvCxnSpPr>
            <a:cxnSpLocks/>
            <a:stCxn id="20" idx="1"/>
          </p:cNvCxnSpPr>
          <p:nvPr/>
        </p:nvCxnSpPr>
        <p:spPr>
          <a:xfrm flipH="1">
            <a:off x="3480955" y="5324507"/>
            <a:ext cx="1981125" cy="5027"/>
          </a:xfrm>
          <a:prstGeom prst="lin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EFA2BBD9-60B2-A473-8C1B-B17DA42D9252}"/>
              </a:ext>
            </a:extLst>
          </p:cNvPr>
          <p:cNvSpPr/>
          <p:nvPr/>
        </p:nvSpPr>
        <p:spPr>
          <a:xfrm>
            <a:off x="5017305" y="2298492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$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65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7C9ECE98-A257-1314-B33D-18E001EEBBE8}"/>
              </a:ext>
            </a:extLst>
          </p:cNvPr>
          <p:cNvSpPr/>
          <p:nvPr/>
        </p:nvSpPr>
        <p:spPr>
          <a:xfrm>
            <a:off x="5017305" y="5197737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35" name="Graphique 34" descr="Santé mentale contour">
            <a:extLst>
              <a:ext uri="{FF2B5EF4-FFF2-40B4-BE49-F238E27FC236}">
                <a16:creationId xmlns:a16="http://schemas.microsoft.com/office/drawing/2014/main" id="{A45BB789-B59B-38C8-FEA0-93FAA4775F7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42495" y="5229161"/>
            <a:ext cx="199000" cy="199000"/>
          </a:xfrm>
          <a:prstGeom prst="rect">
            <a:avLst/>
          </a:prstGeom>
        </p:spPr>
      </p:pic>
      <p:sp>
        <p:nvSpPr>
          <p:cNvPr id="36" name="Ellipse 35">
            <a:extLst>
              <a:ext uri="{FF2B5EF4-FFF2-40B4-BE49-F238E27FC236}">
                <a16:creationId xmlns:a16="http://schemas.microsoft.com/office/drawing/2014/main" id="{5015660F-A15F-AA51-72B6-9297FBDDD380}"/>
              </a:ext>
            </a:extLst>
          </p:cNvPr>
          <p:cNvSpPr/>
          <p:nvPr/>
        </p:nvSpPr>
        <p:spPr>
          <a:xfrm>
            <a:off x="5017305" y="3264571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$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65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01456764-25BD-18A7-89B1-9864E24CF9D4}"/>
              </a:ext>
            </a:extLst>
          </p:cNvPr>
          <p:cNvSpPr/>
          <p:nvPr/>
        </p:nvSpPr>
        <p:spPr>
          <a:xfrm>
            <a:off x="5017305" y="3735850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$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65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CF026851-20C7-45DE-C2A2-D56AF100D551}"/>
              </a:ext>
            </a:extLst>
          </p:cNvPr>
          <p:cNvSpPr/>
          <p:nvPr/>
        </p:nvSpPr>
        <p:spPr>
          <a:xfrm>
            <a:off x="5017305" y="4232950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$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65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76647835-BA53-809A-ED0B-9507AFA050FF}"/>
              </a:ext>
            </a:extLst>
          </p:cNvPr>
          <p:cNvSpPr/>
          <p:nvPr/>
        </p:nvSpPr>
        <p:spPr>
          <a:xfrm>
            <a:off x="5017305" y="4727291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65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$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65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142C09AF-2935-6B2D-BAB5-0ACA833D5DAA}"/>
              </a:ext>
            </a:extLst>
          </p:cNvPr>
          <p:cNvSpPr/>
          <p:nvPr/>
        </p:nvSpPr>
        <p:spPr>
          <a:xfrm>
            <a:off x="5017305" y="2782844"/>
            <a:ext cx="249381" cy="253538"/>
          </a:xfrm>
          <a:prstGeom prst="ellipse">
            <a:avLst/>
          </a:prstGeom>
          <a:solidFill>
            <a:schemeClr val="bg1"/>
          </a:solidFill>
          <a:ln w="3175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2" name="Graphique 41" descr="Paramètres contour">
            <a:extLst>
              <a:ext uri="{FF2B5EF4-FFF2-40B4-BE49-F238E27FC236}">
                <a16:creationId xmlns:a16="http://schemas.microsoft.com/office/drawing/2014/main" id="{1809D7D9-8546-D312-B8B0-9131D0545C7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44492" y="2814549"/>
            <a:ext cx="199000" cy="199000"/>
          </a:xfrm>
          <a:prstGeom prst="rect">
            <a:avLst/>
          </a:prstGeom>
        </p:spPr>
      </p:pic>
      <p:sp>
        <p:nvSpPr>
          <p:cNvPr id="59" name="ZoneTexte 58">
            <a:extLst>
              <a:ext uri="{FF2B5EF4-FFF2-40B4-BE49-F238E27FC236}">
                <a16:creationId xmlns:a16="http://schemas.microsoft.com/office/drawing/2014/main" id="{52BFDD83-93B3-3D1B-82B2-8702BCEF2BF6}"/>
              </a:ext>
            </a:extLst>
          </p:cNvPr>
          <p:cNvSpPr txBox="1"/>
          <p:nvPr/>
        </p:nvSpPr>
        <p:spPr>
          <a:xfrm>
            <a:off x="1808018" y="1155125"/>
            <a:ext cx="8185653" cy="523220"/>
          </a:xfrm>
          <a:prstGeom prst="rect">
            <a:avLst/>
          </a:prstGeom>
          <a:solidFill>
            <a:srgbClr val="FF6500"/>
          </a:solidFill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’excellence dans la mise en œuvre, la tenue des plannings de rénovation et la discipline opérationnelle autour des Ecogestes sont les facteurs clés du succès des objectifs 2025. 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70A6D45-8988-886E-D504-DE65A5F4DD2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075" y="6452661"/>
            <a:ext cx="685037" cy="22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8508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2BF97C5-FF44-F7BC-E1C0-087B6DB8B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cogestes – Étapes de transformation pour 1 sit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A0E1C66-8EE2-E2DD-C229-5DFA5844B6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5315" y="992468"/>
            <a:ext cx="6500387" cy="391628"/>
          </a:xfrm>
        </p:spPr>
        <p:txBody>
          <a:bodyPr/>
          <a:lstStyle/>
          <a:p>
            <a:r>
              <a:rPr lang="fr-FR" b="0" dirty="0">
                <a:solidFill>
                  <a:srgbClr val="FF6500"/>
                </a:solidFill>
              </a:rPr>
              <a:t>« Quand je vois quelque chose, je dis quelque chose »</a:t>
            </a:r>
          </a:p>
        </p:txBody>
      </p:sp>
      <p:pic>
        <p:nvPicPr>
          <p:cNvPr id="7" name="Graphique 6" descr="Liste de contrôle contour">
            <a:extLst>
              <a:ext uri="{FF2B5EF4-FFF2-40B4-BE49-F238E27FC236}">
                <a16:creationId xmlns:a16="http://schemas.microsoft.com/office/drawing/2014/main" id="{A2F07EE7-91E2-6895-DE32-F102ECE729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0844" y="2401980"/>
            <a:ext cx="1091153" cy="1091153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53D81EAA-95BA-D125-9A05-B2C7A00A1D29}"/>
              </a:ext>
            </a:extLst>
          </p:cNvPr>
          <p:cNvSpPr/>
          <p:nvPr/>
        </p:nvSpPr>
        <p:spPr>
          <a:xfrm>
            <a:off x="1466738" y="1896411"/>
            <a:ext cx="339365" cy="349426"/>
          </a:xfrm>
          <a:prstGeom prst="ellipse">
            <a:avLst/>
          </a:prstGeom>
          <a:solidFill>
            <a:srgbClr val="FF6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D39187-8DFE-17BD-48C6-E9F7182C2230}"/>
              </a:ext>
            </a:extLst>
          </p:cNvPr>
          <p:cNvSpPr/>
          <p:nvPr/>
        </p:nvSpPr>
        <p:spPr>
          <a:xfrm>
            <a:off x="550862" y="3636694"/>
            <a:ext cx="2171117" cy="991189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b="1" dirty="0">
                <a:solidFill>
                  <a:schemeClr val="tx2"/>
                </a:solidFill>
              </a:rPr>
              <a:t>Adapter </a:t>
            </a:r>
            <a:r>
              <a:rPr lang="fr-FR" sz="1400" dirty="0">
                <a:solidFill>
                  <a:schemeClr val="tx2"/>
                </a:solidFill>
              </a:rPr>
              <a:t>la checklist &amp; consignes d’écogestes aux réalités opérationnelles du site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44EE3977-02DD-A128-CB0E-EAB4883935D4}"/>
              </a:ext>
            </a:extLst>
          </p:cNvPr>
          <p:cNvSpPr/>
          <p:nvPr/>
        </p:nvSpPr>
        <p:spPr>
          <a:xfrm>
            <a:off x="3741994" y="1896411"/>
            <a:ext cx="339365" cy="349426"/>
          </a:xfrm>
          <a:prstGeom prst="ellipse">
            <a:avLst/>
          </a:prstGeom>
          <a:solidFill>
            <a:srgbClr val="FF6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5753AA-8F0D-668C-45AB-B45FA0776DB7}"/>
              </a:ext>
            </a:extLst>
          </p:cNvPr>
          <p:cNvSpPr/>
          <p:nvPr/>
        </p:nvSpPr>
        <p:spPr>
          <a:xfrm>
            <a:off x="2804297" y="3636693"/>
            <a:ext cx="2214756" cy="991189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dirty="0">
                <a:solidFill>
                  <a:schemeClr val="tx2"/>
                </a:solidFill>
              </a:rPr>
              <a:t>Installer</a:t>
            </a:r>
            <a:r>
              <a:rPr lang="fr-FR" sz="1400" b="1" dirty="0">
                <a:solidFill>
                  <a:schemeClr val="tx2"/>
                </a:solidFill>
              </a:rPr>
              <a:t> les tableaux de bords</a:t>
            </a:r>
            <a:r>
              <a:rPr lang="fr-FR" sz="1400" dirty="0">
                <a:solidFill>
                  <a:schemeClr val="tx2"/>
                </a:solidFill>
              </a:rPr>
              <a:t> pour le brief et donner </a:t>
            </a:r>
            <a:r>
              <a:rPr lang="fr-FR" sz="1400" b="1" dirty="0">
                <a:solidFill>
                  <a:schemeClr val="tx2"/>
                </a:solidFill>
              </a:rPr>
              <a:t>accès au suivi des conso </a:t>
            </a:r>
            <a:r>
              <a:rPr lang="fr-FR" sz="1400" dirty="0">
                <a:solidFill>
                  <a:schemeClr val="tx2"/>
                </a:solidFill>
              </a:rPr>
              <a:t>en kWh</a:t>
            </a:r>
          </a:p>
        </p:txBody>
      </p:sp>
      <p:pic>
        <p:nvPicPr>
          <p:cNvPr id="15" name="Graphique 14" descr="Pyramide avec niveaux contour">
            <a:extLst>
              <a:ext uri="{FF2B5EF4-FFF2-40B4-BE49-F238E27FC236}">
                <a16:creationId xmlns:a16="http://schemas.microsoft.com/office/drawing/2014/main" id="{68ACE71B-89FA-C8AB-232E-1AA893693DA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41179" y="2401979"/>
            <a:ext cx="1091153" cy="1091153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21E56DE3-9A0F-0091-489D-CB8CE3B1BEFE}"/>
              </a:ext>
            </a:extLst>
          </p:cNvPr>
          <p:cNvSpPr/>
          <p:nvPr/>
        </p:nvSpPr>
        <p:spPr>
          <a:xfrm>
            <a:off x="6017250" y="1896411"/>
            <a:ext cx="339365" cy="349426"/>
          </a:xfrm>
          <a:prstGeom prst="ellipse">
            <a:avLst/>
          </a:prstGeom>
          <a:solidFill>
            <a:srgbClr val="FF6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E7DB54E-303D-422E-845F-772949B17127}"/>
              </a:ext>
            </a:extLst>
          </p:cNvPr>
          <p:cNvSpPr/>
          <p:nvPr/>
        </p:nvSpPr>
        <p:spPr>
          <a:xfrm>
            <a:off x="5101372" y="3636692"/>
            <a:ext cx="2171117" cy="991189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b="1" dirty="0">
                <a:solidFill>
                  <a:schemeClr val="tx2"/>
                </a:solidFill>
              </a:rPr>
              <a:t>Sensibiliser </a:t>
            </a:r>
            <a:r>
              <a:rPr lang="fr-FR" sz="1400" dirty="0">
                <a:solidFill>
                  <a:schemeClr val="tx2"/>
                </a:solidFill>
              </a:rPr>
              <a:t>les équipes internes / externes sur les attentes en matière d’écogestes</a:t>
            </a:r>
          </a:p>
        </p:txBody>
      </p:sp>
      <p:pic>
        <p:nvPicPr>
          <p:cNvPr id="20" name="Graphique 19" descr="Graphique à barres contour">
            <a:extLst>
              <a:ext uri="{FF2B5EF4-FFF2-40B4-BE49-F238E27FC236}">
                <a16:creationId xmlns:a16="http://schemas.microsoft.com/office/drawing/2014/main" id="{FA73DD52-E511-9243-2ED8-44783FCAA5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66188" y="2401979"/>
            <a:ext cx="1090800" cy="1090800"/>
          </a:xfrm>
          <a:prstGeom prst="rect">
            <a:avLst/>
          </a:prstGeom>
        </p:spPr>
      </p:pic>
      <p:sp>
        <p:nvSpPr>
          <p:cNvPr id="22" name="Ellipse 21">
            <a:extLst>
              <a:ext uri="{FF2B5EF4-FFF2-40B4-BE49-F238E27FC236}">
                <a16:creationId xmlns:a16="http://schemas.microsoft.com/office/drawing/2014/main" id="{8B1EDFCD-70E5-FFB6-C5F3-7C3960217378}"/>
              </a:ext>
            </a:extLst>
          </p:cNvPr>
          <p:cNvSpPr/>
          <p:nvPr/>
        </p:nvSpPr>
        <p:spPr>
          <a:xfrm>
            <a:off x="8292506" y="1896411"/>
            <a:ext cx="339365" cy="349426"/>
          </a:xfrm>
          <a:prstGeom prst="ellipse">
            <a:avLst/>
          </a:prstGeom>
          <a:solidFill>
            <a:srgbClr val="FF6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  <a:endParaRPr lang="en-GB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D79B358-F8A2-333E-2049-B2A97057AA6A}"/>
              </a:ext>
            </a:extLst>
          </p:cNvPr>
          <p:cNvSpPr/>
          <p:nvPr/>
        </p:nvSpPr>
        <p:spPr>
          <a:xfrm>
            <a:off x="7376627" y="3636693"/>
            <a:ext cx="2171117" cy="991189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dirty="0">
                <a:solidFill>
                  <a:schemeClr val="tx2"/>
                </a:solidFill>
              </a:rPr>
              <a:t>Coacher</a:t>
            </a:r>
            <a:r>
              <a:rPr lang="fr-FR" sz="1400" b="1" dirty="0">
                <a:solidFill>
                  <a:schemeClr val="tx2"/>
                </a:solidFill>
              </a:rPr>
              <a:t> </a:t>
            </a:r>
            <a:r>
              <a:rPr lang="fr-FR" sz="1400" dirty="0">
                <a:solidFill>
                  <a:schemeClr val="tx2"/>
                </a:solidFill>
              </a:rPr>
              <a:t>les managers pour </a:t>
            </a:r>
            <a:r>
              <a:rPr lang="fr-FR" sz="1400" b="1" dirty="0">
                <a:solidFill>
                  <a:schemeClr val="tx2"/>
                </a:solidFill>
              </a:rPr>
              <a:t>voir les écarts et engager un dialogue </a:t>
            </a:r>
            <a:r>
              <a:rPr lang="fr-FR" sz="1400" dirty="0">
                <a:solidFill>
                  <a:schemeClr val="tx2"/>
                </a:solidFill>
              </a:rPr>
              <a:t>avec impact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C6CCEC8-723A-DBE4-00B1-B764E8D36806}"/>
              </a:ext>
            </a:extLst>
          </p:cNvPr>
          <p:cNvSpPr/>
          <p:nvPr/>
        </p:nvSpPr>
        <p:spPr>
          <a:xfrm>
            <a:off x="10567761" y="1896411"/>
            <a:ext cx="339365" cy="349426"/>
          </a:xfrm>
          <a:prstGeom prst="ellipse">
            <a:avLst/>
          </a:prstGeom>
          <a:solidFill>
            <a:srgbClr val="FF65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5</a:t>
            </a:r>
            <a:endParaRPr lang="en-GB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B25E19D-9069-A503-C6EC-6EF2E989559E}"/>
              </a:ext>
            </a:extLst>
          </p:cNvPr>
          <p:cNvSpPr/>
          <p:nvPr/>
        </p:nvSpPr>
        <p:spPr>
          <a:xfrm>
            <a:off x="9651884" y="3636693"/>
            <a:ext cx="2171117" cy="991189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1400" dirty="0">
                <a:solidFill>
                  <a:schemeClr val="tx2"/>
                </a:solidFill>
              </a:rPr>
              <a:t>Coacher les managers pour </a:t>
            </a:r>
            <a:r>
              <a:rPr lang="fr-FR" sz="1400" b="1" dirty="0">
                <a:solidFill>
                  <a:schemeClr val="tx2"/>
                </a:solidFill>
              </a:rPr>
              <a:t>piloter les KPIS </a:t>
            </a:r>
            <a:r>
              <a:rPr lang="fr-FR" sz="1400" dirty="0">
                <a:solidFill>
                  <a:schemeClr val="tx2"/>
                </a:solidFill>
              </a:rPr>
              <a:t>et engager l’amélioration continue</a:t>
            </a:r>
          </a:p>
        </p:txBody>
      </p:sp>
      <p:pic>
        <p:nvPicPr>
          <p:cNvPr id="28" name="Graphique 27" descr="Œil contour">
            <a:extLst>
              <a:ext uri="{FF2B5EF4-FFF2-40B4-BE49-F238E27FC236}">
                <a16:creationId xmlns:a16="http://schemas.microsoft.com/office/drawing/2014/main" id="{214271D0-5003-0975-2691-2B5B36F409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58970" y="2364499"/>
            <a:ext cx="914400" cy="914400"/>
          </a:xfrm>
          <a:prstGeom prst="rect">
            <a:avLst/>
          </a:prstGeom>
        </p:spPr>
      </p:pic>
      <p:pic>
        <p:nvPicPr>
          <p:cNvPr id="30" name="Graphique 29" descr="Chat contour">
            <a:extLst>
              <a:ext uri="{FF2B5EF4-FFF2-40B4-BE49-F238E27FC236}">
                <a16:creationId xmlns:a16="http://schemas.microsoft.com/office/drawing/2014/main" id="{044CED46-7E95-2E7F-90B5-DB90C03176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85608" y="2707328"/>
            <a:ext cx="914400" cy="914400"/>
          </a:xfrm>
          <a:prstGeom prst="rect">
            <a:avLst/>
          </a:prstGeom>
        </p:spPr>
      </p:pic>
      <p:pic>
        <p:nvPicPr>
          <p:cNvPr id="33" name="Graphique 32" descr="Enseignant contour">
            <a:extLst>
              <a:ext uri="{FF2B5EF4-FFF2-40B4-BE49-F238E27FC236}">
                <a16:creationId xmlns:a16="http://schemas.microsoft.com/office/drawing/2014/main" id="{FB1CB81A-0B88-A53C-CE7D-E1178266B9A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91866" y="2401979"/>
            <a:ext cx="1091153" cy="1091153"/>
          </a:xfrm>
          <a:prstGeom prst="rect">
            <a:avLst/>
          </a:prstGeom>
        </p:spPr>
      </p:pic>
      <p:sp>
        <p:nvSpPr>
          <p:cNvPr id="34" name="object 3">
            <a:extLst>
              <a:ext uri="{FF2B5EF4-FFF2-40B4-BE49-F238E27FC236}">
                <a16:creationId xmlns:a16="http://schemas.microsoft.com/office/drawing/2014/main" id="{E9FACAA0-CB38-B35A-49F7-A68586EDF4E8}"/>
              </a:ext>
            </a:extLst>
          </p:cNvPr>
          <p:cNvSpPr txBox="1"/>
          <p:nvPr/>
        </p:nvSpPr>
        <p:spPr>
          <a:xfrm>
            <a:off x="7760185" y="5160542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Managers</a:t>
            </a:r>
            <a:endParaRPr sz="100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35" name="object 22">
            <a:extLst>
              <a:ext uri="{FF2B5EF4-FFF2-40B4-BE49-F238E27FC236}">
                <a16:creationId xmlns:a16="http://schemas.microsoft.com/office/drawing/2014/main" id="{7552536A-A0BC-AE50-84CF-58FFDE8F4A17}"/>
              </a:ext>
            </a:extLst>
          </p:cNvPr>
          <p:cNvSpPr txBox="1"/>
          <p:nvPr/>
        </p:nvSpPr>
        <p:spPr>
          <a:xfrm>
            <a:off x="7760185" y="4932856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Responsable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Times New Roman"/>
              </a:rPr>
              <a:t> du 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site</a:t>
            </a:r>
            <a:endParaRPr lang="fr-FR" sz="1000" dirty="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36" name="object 27">
            <a:extLst>
              <a:ext uri="{FF2B5EF4-FFF2-40B4-BE49-F238E27FC236}">
                <a16:creationId xmlns:a16="http://schemas.microsoft.com/office/drawing/2014/main" id="{57206E71-126F-E9C4-4FAF-59EBBA703AD3}"/>
              </a:ext>
            </a:extLst>
          </p:cNvPr>
          <p:cNvSpPr txBox="1"/>
          <p:nvPr/>
        </p:nvSpPr>
        <p:spPr>
          <a:xfrm>
            <a:off x="7760185" y="5388229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Responsables</a:t>
            </a:r>
            <a:r>
              <a:rPr sz="1000" spc="-10" dirty="0">
                <a:solidFill>
                  <a:srgbClr val="FF6500"/>
                </a:solidFill>
                <a:latin typeface="+mj-lt"/>
                <a:cs typeface="Times New Roman"/>
              </a:rPr>
              <a:t> </a:t>
            </a: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produits</a:t>
            </a:r>
            <a:endParaRPr sz="100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37" name="object 3">
            <a:extLst>
              <a:ext uri="{FF2B5EF4-FFF2-40B4-BE49-F238E27FC236}">
                <a16:creationId xmlns:a16="http://schemas.microsoft.com/office/drawing/2014/main" id="{C4AF402A-5A8C-2788-1904-E973AB10BBBD}"/>
              </a:ext>
            </a:extLst>
          </p:cNvPr>
          <p:cNvSpPr txBox="1"/>
          <p:nvPr/>
        </p:nvSpPr>
        <p:spPr>
          <a:xfrm>
            <a:off x="10035442" y="5160542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Managers</a:t>
            </a:r>
            <a:endParaRPr sz="100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38" name="object 22">
            <a:extLst>
              <a:ext uri="{FF2B5EF4-FFF2-40B4-BE49-F238E27FC236}">
                <a16:creationId xmlns:a16="http://schemas.microsoft.com/office/drawing/2014/main" id="{DDCE0E39-37B6-BE10-7CD6-0BA6920B2061}"/>
              </a:ext>
            </a:extLst>
          </p:cNvPr>
          <p:cNvSpPr txBox="1"/>
          <p:nvPr/>
        </p:nvSpPr>
        <p:spPr>
          <a:xfrm>
            <a:off x="10035442" y="4932856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>
                <a:solidFill>
                  <a:srgbClr val="FF6500"/>
                </a:solidFill>
                <a:latin typeface="+mj-lt"/>
                <a:cs typeface="Arial"/>
              </a:rPr>
              <a:t>Responsable</a:t>
            </a:r>
            <a:r>
              <a:rPr lang="fr-FR" sz="1000" spc="-10">
                <a:solidFill>
                  <a:srgbClr val="FF6500"/>
                </a:solidFill>
                <a:latin typeface="+mj-lt"/>
                <a:cs typeface="Times New Roman"/>
              </a:rPr>
              <a:t> </a:t>
            </a:r>
            <a:r>
              <a:rPr lang="fr-FR" sz="1000" spc="-10">
                <a:solidFill>
                  <a:srgbClr val="FF6500"/>
                </a:solidFill>
                <a:latin typeface="+mj-lt"/>
                <a:cs typeface="Arial"/>
              </a:rPr>
              <a:t>site</a:t>
            </a:r>
            <a:endParaRPr lang="fr-FR" sz="100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39" name="object 27">
            <a:extLst>
              <a:ext uri="{FF2B5EF4-FFF2-40B4-BE49-F238E27FC236}">
                <a16:creationId xmlns:a16="http://schemas.microsoft.com/office/drawing/2014/main" id="{0E9B126C-2784-FEE8-1ED3-265DF8020F7E}"/>
              </a:ext>
            </a:extLst>
          </p:cNvPr>
          <p:cNvSpPr txBox="1"/>
          <p:nvPr/>
        </p:nvSpPr>
        <p:spPr>
          <a:xfrm>
            <a:off x="10035442" y="5388229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Responsables</a:t>
            </a:r>
            <a:r>
              <a:rPr sz="1000" spc="-10" dirty="0">
                <a:solidFill>
                  <a:srgbClr val="FF6500"/>
                </a:solidFill>
                <a:latin typeface="+mj-lt"/>
                <a:cs typeface="Times New Roman"/>
              </a:rPr>
              <a:t> </a:t>
            </a:r>
            <a:r>
              <a:rPr sz="1000" spc="-10" dirty="0">
                <a:solidFill>
                  <a:srgbClr val="FF6500"/>
                </a:solidFill>
                <a:latin typeface="+mj-lt"/>
                <a:cs typeface="Arial"/>
              </a:rPr>
              <a:t>produits</a:t>
            </a:r>
            <a:endParaRPr sz="100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40" name="object 22">
            <a:extLst>
              <a:ext uri="{FF2B5EF4-FFF2-40B4-BE49-F238E27FC236}">
                <a16:creationId xmlns:a16="http://schemas.microsoft.com/office/drawing/2014/main" id="{479D804A-9826-9E1B-1451-0CB6057658D7}"/>
              </a:ext>
            </a:extLst>
          </p:cNvPr>
          <p:cNvSpPr txBox="1"/>
          <p:nvPr/>
        </p:nvSpPr>
        <p:spPr>
          <a:xfrm>
            <a:off x="5484930" y="4932855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Tous (interne/externe)</a:t>
            </a:r>
            <a:endParaRPr sz="1000" dirty="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41" name="object 22">
            <a:extLst>
              <a:ext uri="{FF2B5EF4-FFF2-40B4-BE49-F238E27FC236}">
                <a16:creationId xmlns:a16="http://schemas.microsoft.com/office/drawing/2014/main" id="{9D9E5BC5-762B-9516-9B4F-56DC418647CD}"/>
              </a:ext>
            </a:extLst>
          </p:cNvPr>
          <p:cNvSpPr txBox="1"/>
          <p:nvPr/>
        </p:nvSpPr>
        <p:spPr>
          <a:xfrm>
            <a:off x="3209588" y="4932855"/>
            <a:ext cx="1404000" cy="33406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Responsable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Times New Roman"/>
              </a:rPr>
              <a:t> du 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site</a:t>
            </a:r>
          </a:p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Animateurs briefing</a:t>
            </a:r>
            <a:endParaRPr lang="fr-FR" sz="1000" dirty="0">
              <a:solidFill>
                <a:srgbClr val="FF6500"/>
              </a:solidFill>
              <a:latin typeface="+mj-lt"/>
              <a:cs typeface="Arial"/>
            </a:endParaRPr>
          </a:p>
        </p:txBody>
      </p:sp>
      <p:sp>
        <p:nvSpPr>
          <p:cNvPr id="42" name="object 22">
            <a:extLst>
              <a:ext uri="{FF2B5EF4-FFF2-40B4-BE49-F238E27FC236}">
                <a16:creationId xmlns:a16="http://schemas.microsoft.com/office/drawing/2014/main" id="{30135B37-1FB6-3D55-FEC0-4F850298F744}"/>
              </a:ext>
            </a:extLst>
          </p:cNvPr>
          <p:cNvSpPr txBox="1"/>
          <p:nvPr/>
        </p:nvSpPr>
        <p:spPr>
          <a:xfrm>
            <a:off x="935749" y="4932855"/>
            <a:ext cx="140400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8750" marR="5080" indent="-146685" algn="ctr">
              <a:lnSpc>
                <a:spcPct val="100000"/>
              </a:lnSpc>
              <a:spcBef>
                <a:spcPts val="105"/>
              </a:spcBef>
            </a:pP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Responsable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Times New Roman"/>
              </a:rPr>
              <a:t> du </a:t>
            </a:r>
            <a:r>
              <a:rPr lang="fr-FR" sz="1000" spc="-10" dirty="0">
                <a:solidFill>
                  <a:srgbClr val="FF6500"/>
                </a:solidFill>
                <a:latin typeface="+mj-lt"/>
                <a:cs typeface="Arial"/>
              </a:rPr>
              <a:t>site</a:t>
            </a:r>
          </a:p>
        </p:txBody>
      </p: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81DD6046-F326-CA1F-7B6A-B86C9F61AD74}"/>
              </a:ext>
            </a:extLst>
          </p:cNvPr>
          <p:cNvCxnSpPr>
            <a:cxnSpLocks/>
          </p:cNvCxnSpPr>
          <p:nvPr/>
        </p:nvCxnSpPr>
        <p:spPr>
          <a:xfrm>
            <a:off x="886039" y="4751329"/>
            <a:ext cx="1500763" cy="0"/>
          </a:xfrm>
          <a:prstGeom prst="line">
            <a:avLst/>
          </a:prstGeom>
          <a:ln>
            <a:solidFill>
              <a:srgbClr val="FF7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A3EA5CE0-C5AB-0E3F-003D-420610811A30}"/>
              </a:ext>
            </a:extLst>
          </p:cNvPr>
          <p:cNvCxnSpPr>
            <a:cxnSpLocks/>
          </p:cNvCxnSpPr>
          <p:nvPr/>
        </p:nvCxnSpPr>
        <p:spPr>
          <a:xfrm>
            <a:off x="3161294" y="4751329"/>
            <a:ext cx="1500763" cy="0"/>
          </a:xfrm>
          <a:prstGeom prst="line">
            <a:avLst/>
          </a:prstGeom>
          <a:ln>
            <a:solidFill>
              <a:srgbClr val="FF7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2B495B82-EB51-6C4C-2997-B555127E3D6A}"/>
              </a:ext>
            </a:extLst>
          </p:cNvPr>
          <p:cNvCxnSpPr>
            <a:cxnSpLocks/>
          </p:cNvCxnSpPr>
          <p:nvPr/>
        </p:nvCxnSpPr>
        <p:spPr>
          <a:xfrm>
            <a:off x="5436549" y="4751329"/>
            <a:ext cx="1500763" cy="0"/>
          </a:xfrm>
          <a:prstGeom prst="line">
            <a:avLst/>
          </a:prstGeom>
          <a:ln>
            <a:solidFill>
              <a:srgbClr val="FF7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1FDAAAB9-986A-3BF6-D063-3FB7DD79F4EA}"/>
              </a:ext>
            </a:extLst>
          </p:cNvPr>
          <p:cNvCxnSpPr>
            <a:cxnSpLocks/>
          </p:cNvCxnSpPr>
          <p:nvPr/>
        </p:nvCxnSpPr>
        <p:spPr>
          <a:xfrm>
            <a:off x="7711804" y="4751329"/>
            <a:ext cx="1500763" cy="0"/>
          </a:xfrm>
          <a:prstGeom prst="line">
            <a:avLst/>
          </a:prstGeom>
          <a:ln>
            <a:solidFill>
              <a:srgbClr val="FF7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527A4C3B-ADD3-C34B-8FDE-F56461764D6F}"/>
              </a:ext>
            </a:extLst>
          </p:cNvPr>
          <p:cNvCxnSpPr>
            <a:cxnSpLocks/>
          </p:cNvCxnSpPr>
          <p:nvPr/>
        </p:nvCxnSpPr>
        <p:spPr>
          <a:xfrm>
            <a:off x="9987061" y="4751329"/>
            <a:ext cx="1500763" cy="0"/>
          </a:xfrm>
          <a:prstGeom prst="line">
            <a:avLst/>
          </a:prstGeom>
          <a:ln>
            <a:solidFill>
              <a:srgbClr val="FF7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9991CDB5-B17F-542A-E37E-3986925A76AE}"/>
              </a:ext>
            </a:extLst>
          </p:cNvPr>
          <p:cNvSpPr/>
          <p:nvPr/>
        </p:nvSpPr>
        <p:spPr>
          <a:xfrm>
            <a:off x="7272489" y="1789820"/>
            <a:ext cx="4727833" cy="4271616"/>
          </a:xfrm>
          <a:prstGeom prst="rect">
            <a:avLst/>
          </a:prstGeom>
          <a:noFill/>
          <a:ln w="57150">
            <a:solidFill>
              <a:srgbClr val="FF79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object 27">
            <a:extLst>
              <a:ext uri="{FF2B5EF4-FFF2-40B4-BE49-F238E27FC236}">
                <a16:creationId xmlns:a16="http://schemas.microsoft.com/office/drawing/2014/main" id="{C4D8A88A-0F0A-7992-400F-B53265A98805}"/>
              </a:ext>
            </a:extLst>
          </p:cNvPr>
          <p:cNvSpPr txBox="1"/>
          <p:nvPr/>
        </p:nvSpPr>
        <p:spPr>
          <a:xfrm>
            <a:off x="7633517" y="1137418"/>
            <a:ext cx="4005777" cy="6110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lang="fr-FR" sz="1400" spc="-10" dirty="0">
                <a:solidFill>
                  <a:srgbClr val="FF6500"/>
                </a:solidFill>
                <a:latin typeface="+mj-lt"/>
                <a:cs typeface="Arial"/>
              </a:rPr>
              <a:t>2 cycles de coaching (6 sessions)</a:t>
            </a:r>
          </a:p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lang="fr-FR" sz="2400" spc="-10" dirty="0">
                <a:solidFill>
                  <a:srgbClr val="FF6500"/>
                </a:solidFill>
                <a:latin typeface="Impact" panose="020B0806030902050204" pitchFamily="34" charset="0"/>
                <a:cs typeface="Arial"/>
              </a:rPr>
              <a:t>I DO | WE DO | YOU DO</a:t>
            </a:r>
            <a:endParaRPr sz="2400" dirty="0">
              <a:solidFill>
                <a:srgbClr val="FF6500"/>
              </a:solidFill>
              <a:latin typeface="Impact" panose="020B0806030902050204" pitchFamily="34" charset="0"/>
              <a:cs typeface="Arial"/>
            </a:endParaRPr>
          </a:p>
        </p:txBody>
      </p:sp>
      <p:sp>
        <p:nvSpPr>
          <p:cNvPr id="51" name="object 27">
            <a:extLst>
              <a:ext uri="{FF2B5EF4-FFF2-40B4-BE49-F238E27FC236}">
                <a16:creationId xmlns:a16="http://schemas.microsoft.com/office/drawing/2014/main" id="{24C74C54-915B-5241-5510-412FA425F235}"/>
              </a:ext>
            </a:extLst>
          </p:cNvPr>
          <p:cNvSpPr txBox="1"/>
          <p:nvPr/>
        </p:nvSpPr>
        <p:spPr>
          <a:xfrm>
            <a:off x="7434387" y="5654817"/>
            <a:ext cx="2055596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lang="fr-FR" sz="2000" spc="-10" dirty="0">
                <a:solidFill>
                  <a:srgbClr val="FF6500"/>
                </a:solidFill>
                <a:latin typeface="Impact" panose="020B0806030902050204" pitchFamily="34" charset="0"/>
                <a:cs typeface="Arial"/>
              </a:rPr>
              <a:t>Tour de rayon/site</a:t>
            </a:r>
          </a:p>
        </p:txBody>
      </p:sp>
      <p:sp>
        <p:nvSpPr>
          <p:cNvPr id="52" name="object 27">
            <a:extLst>
              <a:ext uri="{FF2B5EF4-FFF2-40B4-BE49-F238E27FC236}">
                <a16:creationId xmlns:a16="http://schemas.microsoft.com/office/drawing/2014/main" id="{C297DC2A-6D96-A46D-BB5B-212D4BD7123E}"/>
              </a:ext>
            </a:extLst>
          </p:cNvPr>
          <p:cNvSpPr txBox="1"/>
          <p:nvPr/>
        </p:nvSpPr>
        <p:spPr>
          <a:xfrm>
            <a:off x="9803080" y="5654817"/>
            <a:ext cx="1868724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8120" marR="5080" indent="-186055" algn="ctr">
              <a:lnSpc>
                <a:spcPct val="100000"/>
              </a:lnSpc>
              <a:spcBef>
                <a:spcPts val="105"/>
              </a:spcBef>
            </a:pPr>
            <a:r>
              <a:rPr lang="fr-FR" sz="2000" spc="-10" dirty="0">
                <a:solidFill>
                  <a:srgbClr val="FF6500"/>
                </a:solidFill>
                <a:latin typeface="Impact" panose="020B0806030902050204" pitchFamily="34" charset="0"/>
                <a:cs typeface="Arial"/>
              </a:rPr>
              <a:t>Briefing/Pilotage</a:t>
            </a:r>
            <a:endParaRPr sz="2000" dirty="0">
              <a:solidFill>
                <a:srgbClr val="FF6500"/>
              </a:solidFill>
              <a:latin typeface="Impact" panose="020B0806030902050204" pitchFamily="34" charset="0"/>
              <a:cs typeface="Arial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87B8335-92BD-9F2C-EA64-E2D32E8F7A1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075" y="6452661"/>
            <a:ext cx="685037" cy="22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630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Rectangle : coins arrondis 1120">
            <a:extLst>
              <a:ext uri="{FF2B5EF4-FFF2-40B4-BE49-F238E27FC236}">
                <a16:creationId xmlns:a16="http://schemas.microsoft.com/office/drawing/2014/main" id="{2B941163-DE63-73AE-83EF-21DFEECB5F1B}"/>
              </a:ext>
            </a:extLst>
          </p:cNvPr>
          <p:cNvSpPr/>
          <p:nvPr/>
        </p:nvSpPr>
        <p:spPr>
          <a:xfrm>
            <a:off x="3498491" y="1716144"/>
            <a:ext cx="2358775" cy="2327151"/>
          </a:xfrm>
          <a:prstGeom prst="roundRect">
            <a:avLst>
              <a:gd name="adj" fmla="val 5728"/>
            </a:avLst>
          </a:prstGeom>
          <a:solidFill>
            <a:srgbClr val="FF7900">
              <a:alpha val="10196"/>
            </a:srgbClr>
          </a:solidFill>
          <a:ln w="3175">
            <a:solidFill>
              <a:srgbClr val="FF650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22" name="Rectangle : coins arrondis 1121">
            <a:extLst>
              <a:ext uri="{FF2B5EF4-FFF2-40B4-BE49-F238E27FC236}">
                <a16:creationId xmlns:a16="http://schemas.microsoft.com/office/drawing/2014/main" id="{D6B8F62E-33C6-D68D-D2AE-1CE48F0AF95F}"/>
              </a:ext>
            </a:extLst>
          </p:cNvPr>
          <p:cNvSpPr/>
          <p:nvPr/>
        </p:nvSpPr>
        <p:spPr>
          <a:xfrm>
            <a:off x="9902533" y="1716143"/>
            <a:ext cx="1257391" cy="4383321"/>
          </a:xfrm>
          <a:prstGeom prst="roundRect">
            <a:avLst>
              <a:gd name="adj" fmla="val 15884"/>
            </a:avLst>
          </a:prstGeom>
          <a:solidFill>
            <a:srgbClr val="00B0F0">
              <a:alpha val="10196"/>
            </a:srgbClr>
          </a:solidFill>
          <a:ln w="3175">
            <a:solidFill>
              <a:srgbClr val="00B0F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20" name="Rectangle : coins arrondis 1119">
            <a:extLst>
              <a:ext uri="{FF2B5EF4-FFF2-40B4-BE49-F238E27FC236}">
                <a16:creationId xmlns:a16="http://schemas.microsoft.com/office/drawing/2014/main" id="{B8E47642-18AA-E311-C4DC-CB1585D16E78}"/>
              </a:ext>
            </a:extLst>
          </p:cNvPr>
          <p:cNvSpPr/>
          <p:nvPr/>
        </p:nvSpPr>
        <p:spPr>
          <a:xfrm>
            <a:off x="5963364" y="4317885"/>
            <a:ext cx="3502754" cy="2032776"/>
          </a:xfrm>
          <a:prstGeom prst="roundRect">
            <a:avLst/>
          </a:prstGeom>
          <a:solidFill>
            <a:srgbClr val="00B050">
              <a:alpha val="10196"/>
            </a:srgbClr>
          </a:solidFill>
          <a:ln w="3175">
            <a:solidFill>
              <a:srgbClr val="00B05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19" name="Forme libre : forme 1118">
            <a:extLst>
              <a:ext uri="{FF2B5EF4-FFF2-40B4-BE49-F238E27FC236}">
                <a16:creationId xmlns:a16="http://schemas.microsoft.com/office/drawing/2014/main" id="{5153FBD3-13F7-98E3-3166-D9C0651858FA}"/>
              </a:ext>
            </a:extLst>
          </p:cNvPr>
          <p:cNvSpPr/>
          <p:nvPr/>
        </p:nvSpPr>
        <p:spPr>
          <a:xfrm rot="19544017">
            <a:off x="1043083" y="1840081"/>
            <a:ext cx="3397046" cy="4485059"/>
          </a:xfrm>
          <a:custGeom>
            <a:avLst/>
            <a:gdLst>
              <a:gd name="connsiteX0" fmla="*/ 2662882 w 3397046"/>
              <a:gd name="connsiteY0" fmla="*/ 34066 h 4485059"/>
              <a:gd name="connsiteX1" fmla="*/ 3311313 w 3397046"/>
              <a:gd name="connsiteY1" fmla="*/ 475839 h 4485059"/>
              <a:gd name="connsiteX2" fmla="*/ 3362979 w 3397046"/>
              <a:gd name="connsiteY2" fmla="*/ 748399 h 4485059"/>
              <a:gd name="connsiteX3" fmla="*/ 2299770 w 3397046"/>
              <a:gd name="connsiteY3" fmla="*/ 2308972 h 4485059"/>
              <a:gd name="connsiteX4" fmla="*/ 2302588 w 3397046"/>
              <a:gd name="connsiteY4" fmla="*/ 2310872 h 4485059"/>
              <a:gd name="connsiteX5" fmla="*/ 2356722 w 3397046"/>
              <a:gd name="connsiteY5" fmla="*/ 2441564 h 4485059"/>
              <a:gd name="connsiteX6" fmla="*/ 2356722 w 3397046"/>
              <a:gd name="connsiteY6" fmla="*/ 4300233 h 4485059"/>
              <a:gd name="connsiteX7" fmla="*/ 2171896 w 3397046"/>
              <a:gd name="connsiteY7" fmla="*/ 4485059 h 4485059"/>
              <a:gd name="connsiteX8" fmla="*/ 1432615 w 3397046"/>
              <a:gd name="connsiteY8" fmla="*/ 4485059 h 4485059"/>
              <a:gd name="connsiteX9" fmla="*/ 1247789 w 3397046"/>
              <a:gd name="connsiteY9" fmla="*/ 4300233 h 4485059"/>
              <a:gd name="connsiteX10" fmla="*/ 1247789 w 3397046"/>
              <a:gd name="connsiteY10" fmla="*/ 3853063 h 4485059"/>
              <a:gd name="connsiteX11" fmla="*/ 1006723 w 3397046"/>
              <a:gd name="connsiteY11" fmla="*/ 4206898 h 4485059"/>
              <a:gd name="connsiteX12" fmla="*/ 734163 w 3397046"/>
              <a:gd name="connsiteY12" fmla="*/ 4258564 h 4485059"/>
              <a:gd name="connsiteX13" fmla="*/ 85733 w 3397046"/>
              <a:gd name="connsiteY13" fmla="*/ 3816792 h 4485059"/>
              <a:gd name="connsiteX14" fmla="*/ 34066 w 3397046"/>
              <a:gd name="connsiteY14" fmla="*/ 3544232 h 4485059"/>
              <a:gd name="connsiteX15" fmla="*/ 2390322 w 3397046"/>
              <a:gd name="connsiteY15" fmla="*/ 85733 h 4485059"/>
              <a:gd name="connsiteX16" fmla="*/ 2662882 w 3397046"/>
              <a:gd name="connsiteY16" fmla="*/ 34066 h 4485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97046" h="4485059">
                <a:moveTo>
                  <a:pt x="2662882" y="34066"/>
                </a:moveTo>
                <a:lnTo>
                  <a:pt x="3311313" y="475839"/>
                </a:lnTo>
                <a:cubicBezTo>
                  <a:pt x="3400846" y="536837"/>
                  <a:pt x="3423978" y="658866"/>
                  <a:pt x="3362979" y="748399"/>
                </a:cubicBezTo>
                <a:lnTo>
                  <a:pt x="2299770" y="2308972"/>
                </a:lnTo>
                <a:lnTo>
                  <a:pt x="2302588" y="2310872"/>
                </a:lnTo>
                <a:cubicBezTo>
                  <a:pt x="2336035" y="2344319"/>
                  <a:pt x="2356722" y="2390525"/>
                  <a:pt x="2356722" y="2441564"/>
                </a:cubicBezTo>
                <a:lnTo>
                  <a:pt x="2356722" y="4300233"/>
                </a:lnTo>
                <a:cubicBezTo>
                  <a:pt x="2356722" y="4402310"/>
                  <a:pt x="2273973" y="4485059"/>
                  <a:pt x="2171896" y="4485059"/>
                </a:cubicBezTo>
                <a:lnTo>
                  <a:pt x="1432615" y="4485059"/>
                </a:lnTo>
                <a:cubicBezTo>
                  <a:pt x="1330538" y="4485059"/>
                  <a:pt x="1247789" y="4402310"/>
                  <a:pt x="1247789" y="4300233"/>
                </a:cubicBezTo>
                <a:lnTo>
                  <a:pt x="1247789" y="3853063"/>
                </a:lnTo>
                <a:lnTo>
                  <a:pt x="1006723" y="4206898"/>
                </a:lnTo>
                <a:cubicBezTo>
                  <a:pt x="945725" y="4296431"/>
                  <a:pt x="823696" y="4319563"/>
                  <a:pt x="734163" y="4258564"/>
                </a:cubicBezTo>
                <a:lnTo>
                  <a:pt x="85733" y="3816792"/>
                </a:lnTo>
                <a:cubicBezTo>
                  <a:pt x="-3800" y="3755794"/>
                  <a:pt x="-26932" y="3633765"/>
                  <a:pt x="34066" y="3544232"/>
                </a:cubicBezTo>
                <a:lnTo>
                  <a:pt x="2390322" y="85733"/>
                </a:lnTo>
                <a:cubicBezTo>
                  <a:pt x="2451321" y="-3800"/>
                  <a:pt x="2573349" y="-26932"/>
                  <a:pt x="2662882" y="34066"/>
                </a:cubicBezTo>
                <a:close/>
              </a:path>
            </a:pathLst>
          </a:custGeom>
          <a:solidFill>
            <a:srgbClr val="7030A0">
              <a:alpha val="10196"/>
            </a:srgbClr>
          </a:solidFill>
          <a:ln w="3175">
            <a:solidFill>
              <a:srgbClr val="7030A0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1115" name="Groupe 1114">
            <a:extLst>
              <a:ext uri="{FF2B5EF4-FFF2-40B4-BE49-F238E27FC236}">
                <a16:creationId xmlns:a16="http://schemas.microsoft.com/office/drawing/2014/main" id="{38B33C70-444E-190C-D1AE-CA07C667C267}"/>
              </a:ext>
            </a:extLst>
          </p:cNvPr>
          <p:cNvGrpSpPr/>
          <p:nvPr/>
        </p:nvGrpSpPr>
        <p:grpSpPr>
          <a:xfrm>
            <a:off x="2036615" y="1937905"/>
            <a:ext cx="9408965" cy="4782194"/>
            <a:chOff x="2036615" y="1937905"/>
            <a:chExt cx="9408965" cy="4782194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13" name="Flèche : en arc 1112">
              <a:extLst>
                <a:ext uri="{FF2B5EF4-FFF2-40B4-BE49-F238E27FC236}">
                  <a16:creationId xmlns:a16="http://schemas.microsoft.com/office/drawing/2014/main" id="{7AFA7815-7BC6-CBA3-3DC9-9613000042B3}"/>
                </a:ext>
              </a:extLst>
            </p:cNvPr>
            <p:cNvSpPr/>
            <p:nvPr/>
          </p:nvSpPr>
          <p:spPr>
            <a:xfrm rot="16200000" flipV="1">
              <a:off x="4350001" y="-375481"/>
              <a:ext cx="4782194" cy="9408965"/>
            </a:xfrm>
            <a:prstGeom prst="circularArrow">
              <a:avLst>
                <a:gd name="adj1" fmla="val 8263"/>
                <a:gd name="adj2" fmla="val 1001207"/>
                <a:gd name="adj3" fmla="val 20597901"/>
                <a:gd name="adj4" fmla="val 5348804"/>
                <a:gd name="adj5" fmla="val 1347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14" name="Rectangle 1113">
              <a:extLst>
                <a:ext uri="{FF2B5EF4-FFF2-40B4-BE49-F238E27FC236}">
                  <a16:creationId xmlns:a16="http://schemas.microsoft.com/office/drawing/2014/main" id="{8F3D09BB-E07E-1434-9953-03A4B545B279}"/>
                </a:ext>
              </a:extLst>
            </p:cNvPr>
            <p:cNvSpPr/>
            <p:nvPr/>
          </p:nvSpPr>
          <p:spPr>
            <a:xfrm>
              <a:off x="2485930" y="2254827"/>
              <a:ext cx="392794" cy="20197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3" name="Titre 2">
            <a:extLst>
              <a:ext uri="{FF2B5EF4-FFF2-40B4-BE49-F238E27FC236}">
                <a16:creationId xmlns:a16="http://schemas.microsoft.com/office/drawing/2014/main" id="{A749E63D-F214-EBB0-50C9-BB202202E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455847"/>
            <a:ext cx="11214741" cy="576293"/>
          </a:xfrm>
        </p:spPr>
        <p:txBody>
          <a:bodyPr/>
          <a:lstStyle/>
          <a:p>
            <a:r>
              <a:rPr lang="fr-FR" spc="-100" dirty="0"/>
              <a:t>Cycle mensuel des instances de pilotage – vue d’ensemb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2CF6A2-9A3D-3FB5-5119-1CF12BCF6A1D}"/>
              </a:ext>
            </a:extLst>
          </p:cNvPr>
          <p:cNvSpPr/>
          <p:nvPr/>
        </p:nvSpPr>
        <p:spPr>
          <a:xfrm>
            <a:off x="636962" y="1849803"/>
            <a:ext cx="963238" cy="1282587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oi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D9C4B8-6C68-E709-E5A7-65260A75C799}"/>
              </a:ext>
            </a:extLst>
          </p:cNvPr>
          <p:cNvSpPr/>
          <p:nvPr/>
        </p:nvSpPr>
        <p:spPr>
          <a:xfrm>
            <a:off x="636962" y="3403664"/>
            <a:ext cx="963238" cy="546389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ema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186820-F363-985B-ED58-B905AECCF4C4}"/>
              </a:ext>
            </a:extLst>
          </p:cNvPr>
          <p:cNvSpPr/>
          <p:nvPr/>
        </p:nvSpPr>
        <p:spPr>
          <a:xfrm>
            <a:off x="636962" y="4221327"/>
            <a:ext cx="963238" cy="1439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Jou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292AB6-D78E-0E93-07D9-9E719A2C8AFC}"/>
              </a:ext>
            </a:extLst>
          </p:cNvPr>
          <p:cNvSpPr/>
          <p:nvPr/>
        </p:nvSpPr>
        <p:spPr>
          <a:xfrm>
            <a:off x="2037914" y="1300629"/>
            <a:ext cx="1282070" cy="375095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lann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2085CB-61D6-9E00-D20F-8DB412C212BE}"/>
              </a:ext>
            </a:extLst>
          </p:cNvPr>
          <p:cNvSpPr/>
          <p:nvPr/>
        </p:nvSpPr>
        <p:spPr>
          <a:xfrm>
            <a:off x="3629582" y="1300629"/>
            <a:ext cx="3325362" cy="375095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stances de pilotage / Supervis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B36EC2-93B4-40AB-57CA-8A3A64857FAF}"/>
              </a:ext>
            </a:extLst>
          </p:cNvPr>
          <p:cNvSpPr/>
          <p:nvPr/>
        </p:nvSpPr>
        <p:spPr>
          <a:xfrm>
            <a:off x="7264542" y="1300629"/>
            <a:ext cx="2300290" cy="375095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éalis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ACAB3F-E612-8BAD-5341-BAC48D554CFA}"/>
              </a:ext>
            </a:extLst>
          </p:cNvPr>
          <p:cNvSpPr/>
          <p:nvPr/>
        </p:nvSpPr>
        <p:spPr>
          <a:xfrm>
            <a:off x="9877855" y="1300629"/>
            <a:ext cx="1282070" cy="375095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port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D58FE9-8878-070F-DF80-0A5E3596313A}"/>
              </a:ext>
            </a:extLst>
          </p:cNvPr>
          <p:cNvSpPr/>
          <p:nvPr/>
        </p:nvSpPr>
        <p:spPr>
          <a:xfrm>
            <a:off x="6094049" y="4483452"/>
            <a:ext cx="860895" cy="549175"/>
          </a:xfrm>
          <a:prstGeom prst="rect">
            <a:avLst/>
          </a:prstGeom>
          <a:solidFill>
            <a:srgbClr val="DA2128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rief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E3EE6A-9899-E7F6-0394-36A5C23C474A}"/>
              </a:ext>
            </a:extLst>
          </p:cNvPr>
          <p:cNvSpPr/>
          <p:nvPr/>
        </p:nvSpPr>
        <p:spPr>
          <a:xfrm>
            <a:off x="8555697" y="4957521"/>
            <a:ext cx="860895" cy="549175"/>
          </a:xfrm>
          <a:prstGeom prst="rect">
            <a:avLst/>
          </a:prstGeom>
          <a:solidFill>
            <a:srgbClr val="00B05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VCE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ul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5FF924-1F81-FF65-40AE-2001A2B8C779}"/>
              </a:ext>
            </a:extLst>
          </p:cNvPr>
          <p:cNvSpPr/>
          <p:nvPr/>
        </p:nvSpPr>
        <p:spPr>
          <a:xfrm>
            <a:off x="7410963" y="5660656"/>
            <a:ext cx="860895" cy="549175"/>
          </a:xfrm>
          <a:prstGeom prst="rect">
            <a:avLst/>
          </a:prstGeom>
          <a:solidFill>
            <a:srgbClr val="00B05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ctions travau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D9E296-78CE-5A1E-27E7-C0AB6371127C}"/>
              </a:ext>
            </a:extLst>
          </p:cNvPr>
          <p:cNvSpPr/>
          <p:nvPr/>
        </p:nvSpPr>
        <p:spPr>
          <a:xfrm>
            <a:off x="10088442" y="4957521"/>
            <a:ext cx="860895" cy="549175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eading KP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221132-BEE0-DB53-DDA2-EED0EFC9A505}"/>
              </a:ext>
            </a:extLst>
          </p:cNvPr>
          <p:cNvSpPr/>
          <p:nvPr/>
        </p:nvSpPr>
        <p:spPr>
          <a:xfrm>
            <a:off x="4861814" y="3403663"/>
            <a:ext cx="860895" cy="549175"/>
          </a:xfrm>
          <a:prstGeom prst="rect">
            <a:avLst/>
          </a:prstGeom>
          <a:solidFill>
            <a:srgbClr val="FF790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i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4826BB-C836-265B-7974-04CEE69781D8}"/>
              </a:ext>
            </a:extLst>
          </p:cNvPr>
          <p:cNvSpPr/>
          <p:nvPr/>
        </p:nvSpPr>
        <p:spPr>
          <a:xfrm>
            <a:off x="4859132" y="1762763"/>
            <a:ext cx="860895" cy="549175"/>
          </a:xfrm>
          <a:prstGeom prst="rect">
            <a:avLst/>
          </a:prstGeom>
          <a:solidFill>
            <a:srgbClr val="FF790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C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ATT</a:t>
            </a:r>
          </a:p>
        </p:txBody>
      </p:sp>
      <p:cxnSp>
        <p:nvCxnSpPr>
          <p:cNvPr id="39" name="Connecteur : en angle 38">
            <a:extLst>
              <a:ext uri="{FF2B5EF4-FFF2-40B4-BE49-F238E27FC236}">
                <a16:creationId xmlns:a16="http://schemas.microsoft.com/office/drawing/2014/main" id="{E0E7BD15-2B8D-7D8C-835B-3A645A6EF4D6}"/>
              </a:ext>
            </a:extLst>
          </p:cNvPr>
          <p:cNvCxnSpPr>
            <a:cxnSpLocks/>
            <a:endCxn id="1041" idx="2"/>
          </p:cNvCxnSpPr>
          <p:nvPr/>
        </p:nvCxnSpPr>
        <p:spPr>
          <a:xfrm rot="10800000">
            <a:off x="4060031" y="2311937"/>
            <a:ext cx="860895" cy="36162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6" name="Connecteur : en angle 1025">
            <a:extLst>
              <a:ext uri="{FF2B5EF4-FFF2-40B4-BE49-F238E27FC236}">
                <a16:creationId xmlns:a16="http://schemas.microsoft.com/office/drawing/2014/main" id="{2039B654-B4C5-974F-A749-4A62509EB15A}"/>
              </a:ext>
            </a:extLst>
          </p:cNvPr>
          <p:cNvCxnSpPr>
            <a:cxnSpLocks/>
            <a:stCxn id="1028" idx="2"/>
            <a:endCxn id="1045" idx="1"/>
          </p:cNvCxnSpPr>
          <p:nvPr/>
        </p:nvCxnSpPr>
        <p:spPr>
          <a:xfrm rot="16200000" flipH="1">
            <a:off x="1307468" y="3683418"/>
            <a:ext cx="2920171" cy="177209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6159490C-B888-3F0D-BF4B-5BE2B13B54F6}"/>
              </a:ext>
            </a:extLst>
          </p:cNvPr>
          <p:cNvSpPr/>
          <p:nvPr/>
        </p:nvSpPr>
        <p:spPr>
          <a:xfrm>
            <a:off x="2248501" y="1762763"/>
            <a:ext cx="860895" cy="549175"/>
          </a:xfrm>
          <a:prstGeom prst="rect">
            <a:avLst/>
          </a:prstGeom>
          <a:solidFill>
            <a:srgbClr val="7030A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ches Actions</a:t>
            </a:r>
          </a:p>
        </p:txBody>
      </p: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9CCDAE28-DCA1-BDE8-7B68-F8364F59E966}"/>
              </a:ext>
            </a:extLst>
          </p:cNvPr>
          <p:cNvSpPr/>
          <p:nvPr/>
        </p:nvSpPr>
        <p:spPr>
          <a:xfrm>
            <a:off x="3629582" y="1762762"/>
            <a:ext cx="860895" cy="549175"/>
          </a:xfrm>
          <a:prstGeom prst="rect">
            <a:avLst/>
          </a:prstGeom>
          <a:solidFill>
            <a:srgbClr val="FF790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DIR</a:t>
            </a:r>
          </a:p>
        </p:txBody>
      </p:sp>
      <p:sp>
        <p:nvSpPr>
          <p:cNvPr id="1044" name="Rectangle 1043">
            <a:extLst>
              <a:ext uri="{FF2B5EF4-FFF2-40B4-BE49-F238E27FC236}">
                <a16:creationId xmlns:a16="http://schemas.microsoft.com/office/drawing/2014/main" id="{9A54423A-4FC1-9A5A-7AAA-9C337CC6B0E5}"/>
              </a:ext>
            </a:extLst>
          </p:cNvPr>
          <p:cNvSpPr/>
          <p:nvPr/>
        </p:nvSpPr>
        <p:spPr>
          <a:xfrm>
            <a:off x="2248500" y="5660655"/>
            <a:ext cx="860895" cy="549175"/>
          </a:xfrm>
          <a:prstGeom prst="rect">
            <a:avLst/>
          </a:prstGeom>
          <a:solidFill>
            <a:srgbClr val="7030A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vaux</a:t>
            </a:r>
          </a:p>
        </p:txBody>
      </p:sp>
      <p:sp>
        <p:nvSpPr>
          <p:cNvPr id="1045" name="Rectangle 1044">
            <a:extLst>
              <a:ext uri="{FF2B5EF4-FFF2-40B4-BE49-F238E27FC236}">
                <a16:creationId xmlns:a16="http://schemas.microsoft.com/office/drawing/2014/main" id="{2218ABDF-6761-C625-CD37-17419D583B73}"/>
              </a:ext>
            </a:extLst>
          </p:cNvPr>
          <p:cNvSpPr/>
          <p:nvPr/>
        </p:nvSpPr>
        <p:spPr>
          <a:xfrm>
            <a:off x="2856158" y="4957521"/>
            <a:ext cx="1145852" cy="549175"/>
          </a:xfrm>
          <a:prstGeom prst="rect">
            <a:avLst/>
          </a:prstGeom>
          <a:solidFill>
            <a:srgbClr val="7030A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cogestes</a:t>
            </a:r>
          </a:p>
        </p:txBody>
      </p:sp>
      <p:cxnSp>
        <p:nvCxnSpPr>
          <p:cNvPr id="1049" name="Connecteur droit avec flèche 1048">
            <a:extLst>
              <a:ext uri="{FF2B5EF4-FFF2-40B4-BE49-F238E27FC236}">
                <a16:creationId xmlns:a16="http://schemas.microsoft.com/office/drawing/2014/main" id="{0EA234E8-E2A7-0781-542A-D00BC468AE53}"/>
              </a:ext>
            </a:extLst>
          </p:cNvPr>
          <p:cNvCxnSpPr>
            <a:stCxn id="1028" idx="2"/>
            <a:endCxn id="1044" idx="0"/>
          </p:cNvCxnSpPr>
          <p:nvPr/>
        </p:nvCxnSpPr>
        <p:spPr>
          <a:xfrm flipH="1">
            <a:off x="2678948" y="2311938"/>
            <a:ext cx="1" cy="334871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386125DF-ED96-7939-A08D-EE938A43280F}"/>
              </a:ext>
            </a:extLst>
          </p:cNvPr>
          <p:cNvSpPr/>
          <p:nvPr/>
        </p:nvSpPr>
        <p:spPr>
          <a:xfrm>
            <a:off x="2248500" y="3409297"/>
            <a:ext cx="860895" cy="549175"/>
          </a:xfrm>
          <a:prstGeom prst="rect">
            <a:avLst/>
          </a:prstGeom>
          <a:solidFill>
            <a:srgbClr val="7030A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ches Actions</a:t>
            </a:r>
          </a:p>
        </p:txBody>
      </p:sp>
      <p:cxnSp>
        <p:nvCxnSpPr>
          <p:cNvPr id="1051" name="Connecteur : en angle 1050">
            <a:extLst>
              <a:ext uri="{FF2B5EF4-FFF2-40B4-BE49-F238E27FC236}">
                <a16:creationId xmlns:a16="http://schemas.microsoft.com/office/drawing/2014/main" id="{7CAB2C2E-1B99-BCB8-C503-A8ADC7287B9B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97152" y="2857803"/>
            <a:ext cx="2180184" cy="551494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4" name="Rectangle 1053">
            <a:extLst>
              <a:ext uri="{FF2B5EF4-FFF2-40B4-BE49-F238E27FC236}">
                <a16:creationId xmlns:a16="http://schemas.microsoft.com/office/drawing/2014/main" id="{3A36F41E-E647-763B-83EC-DD996B4953A5}"/>
              </a:ext>
            </a:extLst>
          </p:cNvPr>
          <p:cNvSpPr/>
          <p:nvPr/>
        </p:nvSpPr>
        <p:spPr>
          <a:xfrm>
            <a:off x="4859132" y="2583215"/>
            <a:ext cx="860895" cy="549175"/>
          </a:xfrm>
          <a:prstGeom prst="rect">
            <a:avLst/>
          </a:prstGeom>
          <a:solidFill>
            <a:srgbClr val="FF790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&amp;C</a:t>
            </a:r>
          </a:p>
        </p:txBody>
      </p:sp>
      <p:cxnSp>
        <p:nvCxnSpPr>
          <p:cNvPr id="1055" name="Connecteur droit avec flèche 1054">
            <a:extLst>
              <a:ext uri="{FF2B5EF4-FFF2-40B4-BE49-F238E27FC236}">
                <a16:creationId xmlns:a16="http://schemas.microsoft.com/office/drawing/2014/main" id="{C9C87F4C-8746-1170-50F6-3D6DF919DF1C}"/>
              </a:ext>
            </a:extLst>
          </p:cNvPr>
          <p:cNvCxnSpPr>
            <a:cxnSpLocks/>
            <a:stCxn id="1041" idx="1"/>
            <a:endCxn id="1028" idx="3"/>
          </p:cNvCxnSpPr>
          <p:nvPr/>
        </p:nvCxnSpPr>
        <p:spPr>
          <a:xfrm flipH="1">
            <a:off x="3109396" y="2037350"/>
            <a:ext cx="520186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8" name="Connecteur droit avec flèche 1057">
            <a:extLst>
              <a:ext uri="{FF2B5EF4-FFF2-40B4-BE49-F238E27FC236}">
                <a16:creationId xmlns:a16="http://schemas.microsoft.com/office/drawing/2014/main" id="{6C1728C7-A407-7AED-1E95-01833767197F}"/>
              </a:ext>
            </a:extLst>
          </p:cNvPr>
          <p:cNvCxnSpPr>
            <a:cxnSpLocks/>
            <a:stCxn id="20" idx="1"/>
            <a:endCxn id="1041" idx="3"/>
          </p:cNvCxnSpPr>
          <p:nvPr/>
        </p:nvCxnSpPr>
        <p:spPr>
          <a:xfrm flipH="1" flipV="1">
            <a:off x="4490477" y="2037350"/>
            <a:ext cx="368655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1" name="Connecteur droit avec flèche 1060">
            <a:extLst>
              <a:ext uri="{FF2B5EF4-FFF2-40B4-BE49-F238E27FC236}">
                <a16:creationId xmlns:a16="http://schemas.microsoft.com/office/drawing/2014/main" id="{6CB84F3A-184B-D771-DA80-0BB91118C6BF}"/>
              </a:ext>
            </a:extLst>
          </p:cNvPr>
          <p:cNvCxnSpPr>
            <a:cxnSpLocks/>
            <a:stCxn id="1054" idx="0"/>
            <a:endCxn id="20" idx="2"/>
          </p:cNvCxnSpPr>
          <p:nvPr/>
        </p:nvCxnSpPr>
        <p:spPr>
          <a:xfrm flipV="1">
            <a:off x="5289580" y="2311938"/>
            <a:ext cx="0" cy="27127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47337D08-C54C-05CF-99F7-12BEC6CD9DA3}"/>
              </a:ext>
            </a:extLst>
          </p:cNvPr>
          <p:cNvSpPr/>
          <p:nvPr/>
        </p:nvSpPr>
        <p:spPr>
          <a:xfrm>
            <a:off x="3629581" y="2583157"/>
            <a:ext cx="860895" cy="181450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agging KPI</a:t>
            </a:r>
          </a:p>
        </p:txBody>
      </p:sp>
      <p:cxnSp>
        <p:nvCxnSpPr>
          <p:cNvPr id="1068" name="Connecteur : en angle 1067">
            <a:extLst>
              <a:ext uri="{FF2B5EF4-FFF2-40B4-BE49-F238E27FC236}">
                <a16:creationId xmlns:a16="http://schemas.microsoft.com/office/drawing/2014/main" id="{6775DDD1-1ABF-D4D4-6998-DCE87F1D79DD}"/>
              </a:ext>
            </a:extLst>
          </p:cNvPr>
          <p:cNvCxnSpPr>
            <a:cxnSpLocks/>
            <a:stCxn id="15" idx="0"/>
            <a:endCxn id="20" idx="3"/>
          </p:cNvCxnSpPr>
          <p:nvPr/>
        </p:nvCxnSpPr>
        <p:spPr>
          <a:xfrm rot="16200000" flipV="1">
            <a:off x="6659374" y="1098004"/>
            <a:ext cx="2920170" cy="4798863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1" name="Connecteur droit avec flèche 1070">
            <a:extLst>
              <a:ext uri="{FF2B5EF4-FFF2-40B4-BE49-F238E27FC236}">
                <a16:creationId xmlns:a16="http://schemas.microsoft.com/office/drawing/2014/main" id="{80A9A144-595B-527A-4217-4AF51077AC61}"/>
              </a:ext>
            </a:extLst>
          </p:cNvPr>
          <p:cNvCxnSpPr>
            <a:cxnSpLocks/>
            <a:stCxn id="1045" idx="3"/>
            <a:endCxn id="12" idx="1"/>
          </p:cNvCxnSpPr>
          <p:nvPr/>
        </p:nvCxnSpPr>
        <p:spPr>
          <a:xfrm>
            <a:off x="4002010" y="5232109"/>
            <a:ext cx="4553687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4" name="Connecteur droit avec flèche 1073">
            <a:extLst>
              <a:ext uri="{FF2B5EF4-FFF2-40B4-BE49-F238E27FC236}">
                <a16:creationId xmlns:a16="http://schemas.microsoft.com/office/drawing/2014/main" id="{1C766AA0-F0CE-1D59-D414-607F7B8B4311}"/>
              </a:ext>
            </a:extLst>
          </p:cNvPr>
          <p:cNvCxnSpPr>
            <a:cxnSpLocks/>
            <a:stCxn id="12" idx="3"/>
            <a:endCxn id="15" idx="1"/>
          </p:cNvCxnSpPr>
          <p:nvPr/>
        </p:nvCxnSpPr>
        <p:spPr>
          <a:xfrm>
            <a:off x="9416592" y="5232109"/>
            <a:ext cx="671850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7" name="Connecteur : en angle 1076">
            <a:extLst>
              <a:ext uri="{FF2B5EF4-FFF2-40B4-BE49-F238E27FC236}">
                <a16:creationId xmlns:a16="http://schemas.microsoft.com/office/drawing/2014/main" id="{BDC5097C-C57E-E063-E645-9C44E88416F5}"/>
              </a:ext>
            </a:extLst>
          </p:cNvPr>
          <p:cNvCxnSpPr>
            <a:cxnSpLocks/>
            <a:stCxn id="13" idx="3"/>
            <a:endCxn id="15" idx="2"/>
          </p:cNvCxnSpPr>
          <p:nvPr/>
        </p:nvCxnSpPr>
        <p:spPr>
          <a:xfrm flipV="1">
            <a:off x="8271858" y="5506696"/>
            <a:ext cx="2247032" cy="428548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0" name="Connecteur droit avec flèche 1079">
            <a:extLst>
              <a:ext uri="{FF2B5EF4-FFF2-40B4-BE49-F238E27FC236}">
                <a16:creationId xmlns:a16="http://schemas.microsoft.com/office/drawing/2014/main" id="{0A507709-C9EC-B187-E902-399DBBE44AF7}"/>
              </a:ext>
            </a:extLst>
          </p:cNvPr>
          <p:cNvCxnSpPr>
            <a:cxnSpLocks/>
            <a:stCxn id="1044" idx="3"/>
            <a:endCxn id="13" idx="1"/>
          </p:cNvCxnSpPr>
          <p:nvPr/>
        </p:nvCxnSpPr>
        <p:spPr>
          <a:xfrm>
            <a:off x="3109395" y="5935243"/>
            <a:ext cx="4301568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3" name="Connecteur : en angle 1082">
            <a:extLst>
              <a:ext uri="{FF2B5EF4-FFF2-40B4-BE49-F238E27FC236}">
                <a16:creationId xmlns:a16="http://schemas.microsoft.com/office/drawing/2014/main" id="{181A2069-4E1E-D8BF-4700-2FE7908A2049}"/>
              </a:ext>
            </a:extLst>
          </p:cNvPr>
          <p:cNvCxnSpPr>
            <a:cxnSpLocks/>
            <a:stCxn id="15" idx="0"/>
            <a:endCxn id="11" idx="3"/>
          </p:cNvCxnSpPr>
          <p:nvPr/>
        </p:nvCxnSpPr>
        <p:spPr>
          <a:xfrm rot="16200000" flipV="1">
            <a:off x="8637177" y="3075808"/>
            <a:ext cx="199481" cy="356394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8" name="Connecteur : en angle 1087">
            <a:extLst>
              <a:ext uri="{FF2B5EF4-FFF2-40B4-BE49-F238E27FC236}">
                <a16:creationId xmlns:a16="http://schemas.microsoft.com/office/drawing/2014/main" id="{DD20EBCF-B33A-A899-B137-72F8095D6C42}"/>
              </a:ext>
            </a:extLst>
          </p:cNvPr>
          <p:cNvCxnSpPr>
            <a:cxnSpLocks/>
            <a:stCxn id="11" idx="1"/>
            <a:endCxn id="1045" idx="0"/>
          </p:cNvCxnSpPr>
          <p:nvPr/>
        </p:nvCxnSpPr>
        <p:spPr>
          <a:xfrm rot="10800000" flipV="1">
            <a:off x="3429085" y="4758039"/>
            <a:ext cx="2664965" cy="199481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Connecteur : en angle 1090">
            <a:extLst>
              <a:ext uri="{FF2B5EF4-FFF2-40B4-BE49-F238E27FC236}">
                <a16:creationId xmlns:a16="http://schemas.microsoft.com/office/drawing/2014/main" id="{7D70CB8C-DAAC-6EA0-3B10-93F31897C660}"/>
              </a:ext>
            </a:extLst>
          </p:cNvPr>
          <p:cNvCxnSpPr>
            <a:cxnSpLocks/>
            <a:stCxn id="17" idx="1"/>
            <a:endCxn id="1054" idx="1"/>
          </p:cNvCxnSpPr>
          <p:nvPr/>
        </p:nvCxnSpPr>
        <p:spPr>
          <a:xfrm rot="10800000">
            <a:off x="4859132" y="2857803"/>
            <a:ext cx="2682" cy="820448"/>
          </a:xfrm>
          <a:prstGeom prst="bentConnector3">
            <a:avLst>
              <a:gd name="adj1" fmla="val 8623490"/>
            </a:avLst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4" name="Rectangle 1093">
            <a:extLst>
              <a:ext uri="{FF2B5EF4-FFF2-40B4-BE49-F238E27FC236}">
                <a16:creationId xmlns:a16="http://schemas.microsoft.com/office/drawing/2014/main" id="{00452DFB-6FB9-9689-60D4-2CDEE2E55DE0}"/>
              </a:ext>
            </a:extLst>
          </p:cNvPr>
          <p:cNvSpPr/>
          <p:nvPr/>
        </p:nvSpPr>
        <p:spPr>
          <a:xfrm>
            <a:off x="4202595" y="3177302"/>
            <a:ext cx="860895" cy="181450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agging KPI</a:t>
            </a:r>
          </a:p>
        </p:txBody>
      </p:sp>
      <p:cxnSp>
        <p:nvCxnSpPr>
          <p:cNvPr id="1095" name="Connecteur : en angle 1094">
            <a:extLst>
              <a:ext uri="{FF2B5EF4-FFF2-40B4-BE49-F238E27FC236}">
                <a16:creationId xmlns:a16="http://schemas.microsoft.com/office/drawing/2014/main" id="{52A0EE33-EB7B-B3CB-F370-621B6F7CD1C1}"/>
              </a:ext>
            </a:extLst>
          </p:cNvPr>
          <p:cNvCxnSpPr>
            <a:cxnSpLocks/>
            <a:stCxn id="15" idx="0"/>
            <a:endCxn id="17" idx="3"/>
          </p:cNvCxnSpPr>
          <p:nvPr/>
        </p:nvCxnSpPr>
        <p:spPr>
          <a:xfrm rot="16200000" flipV="1">
            <a:off x="7481165" y="1919795"/>
            <a:ext cx="1279270" cy="4796181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8" name="Connecteur : en angle 1097">
            <a:extLst>
              <a:ext uri="{FF2B5EF4-FFF2-40B4-BE49-F238E27FC236}">
                <a16:creationId xmlns:a16="http://schemas.microsoft.com/office/drawing/2014/main" id="{65FDBC4A-8090-59F1-31E0-2ACA20D8414E}"/>
              </a:ext>
            </a:extLst>
          </p:cNvPr>
          <p:cNvCxnSpPr>
            <a:cxnSpLocks/>
            <a:stCxn id="15" idx="0"/>
            <a:endCxn id="1054" idx="3"/>
          </p:cNvCxnSpPr>
          <p:nvPr/>
        </p:nvCxnSpPr>
        <p:spPr>
          <a:xfrm rot="16200000" flipV="1">
            <a:off x="7069600" y="1508230"/>
            <a:ext cx="2099718" cy="4798863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1" name="Rectangle 1100">
            <a:extLst>
              <a:ext uri="{FF2B5EF4-FFF2-40B4-BE49-F238E27FC236}">
                <a16:creationId xmlns:a16="http://schemas.microsoft.com/office/drawing/2014/main" id="{90FAA070-3067-4D7E-BE98-C1AD3F10570E}"/>
              </a:ext>
            </a:extLst>
          </p:cNvPr>
          <p:cNvSpPr/>
          <p:nvPr/>
        </p:nvSpPr>
        <p:spPr>
          <a:xfrm>
            <a:off x="10088443" y="3403663"/>
            <a:ext cx="860895" cy="549175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eading KPI</a:t>
            </a:r>
          </a:p>
        </p:txBody>
      </p:sp>
      <p:sp>
        <p:nvSpPr>
          <p:cNvPr id="1102" name="Rectangle 1101">
            <a:extLst>
              <a:ext uri="{FF2B5EF4-FFF2-40B4-BE49-F238E27FC236}">
                <a16:creationId xmlns:a16="http://schemas.microsoft.com/office/drawing/2014/main" id="{D361E48C-149E-9009-EB30-BB657911DDD7}"/>
              </a:ext>
            </a:extLst>
          </p:cNvPr>
          <p:cNvSpPr/>
          <p:nvPr/>
        </p:nvSpPr>
        <p:spPr>
          <a:xfrm>
            <a:off x="10088443" y="1762763"/>
            <a:ext cx="860895" cy="549175"/>
          </a:xfrm>
          <a:prstGeom prst="rect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eading KPI</a:t>
            </a:r>
          </a:p>
        </p:txBody>
      </p:sp>
      <p:sp>
        <p:nvSpPr>
          <p:cNvPr id="1103" name="Rectangle 1102">
            <a:extLst>
              <a:ext uri="{FF2B5EF4-FFF2-40B4-BE49-F238E27FC236}">
                <a16:creationId xmlns:a16="http://schemas.microsoft.com/office/drawing/2014/main" id="{B0F3286C-EEAC-928A-CDC4-9E468A57888B}"/>
              </a:ext>
            </a:extLst>
          </p:cNvPr>
          <p:cNvSpPr/>
          <p:nvPr/>
        </p:nvSpPr>
        <p:spPr>
          <a:xfrm>
            <a:off x="2601526" y="213360"/>
            <a:ext cx="154841" cy="159077"/>
          </a:xfrm>
          <a:prstGeom prst="rect">
            <a:avLst/>
          </a:prstGeom>
          <a:solidFill>
            <a:srgbClr val="7030A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04" name="Rectangle 1103">
            <a:extLst>
              <a:ext uri="{FF2B5EF4-FFF2-40B4-BE49-F238E27FC236}">
                <a16:creationId xmlns:a16="http://schemas.microsoft.com/office/drawing/2014/main" id="{6950822A-A6D9-0A75-A235-465F1B9C1BD6}"/>
              </a:ext>
            </a:extLst>
          </p:cNvPr>
          <p:cNvSpPr/>
          <p:nvPr/>
        </p:nvSpPr>
        <p:spPr>
          <a:xfrm>
            <a:off x="2770044" y="137901"/>
            <a:ext cx="1365541" cy="3099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91A37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lanning</a:t>
            </a:r>
          </a:p>
        </p:txBody>
      </p:sp>
      <p:sp>
        <p:nvSpPr>
          <p:cNvPr id="1105" name="Rectangle 1104">
            <a:extLst>
              <a:ext uri="{FF2B5EF4-FFF2-40B4-BE49-F238E27FC236}">
                <a16:creationId xmlns:a16="http://schemas.microsoft.com/office/drawing/2014/main" id="{B6FCF8A7-2537-521C-D25A-735D0187D949}"/>
              </a:ext>
            </a:extLst>
          </p:cNvPr>
          <p:cNvSpPr/>
          <p:nvPr/>
        </p:nvSpPr>
        <p:spPr>
          <a:xfrm>
            <a:off x="4007843" y="213360"/>
            <a:ext cx="154841" cy="159077"/>
          </a:xfrm>
          <a:prstGeom prst="rect">
            <a:avLst/>
          </a:prstGeom>
          <a:solidFill>
            <a:srgbClr val="FF650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06" name="Rectangle 1105">
            <a:extLst>
              <a:ext uri="{FF2B5EF4-FFF2-40B4-BE49-F238E27FC236}">
                <a16:creationId xmlns:a16="http://schemas.microsoft.com/office/drawing/2014/main" id="{9630714D-B7EC-BD1D-2C6E-BBD3211F4560}"/>
              </a:ext>
            </a:extLst>
          </p:cNvPr>
          <p:cNvSpPr/>
          <p:nvPr/>
        </p:nvSpPr>
        <p:spPr>
          <a:xfrm>
            <a:off x="4176361" y="137901"/>
            <a:ext cx="1365541" cy="3099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191A37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éunion</a:t>
            </a:r>
          </a:p>
        </p:txBody>
      </p:sp>
      <p:sp>
        <p:nvSpPr>
          <p:cNvPr id="1107" name="Rectangle 1106">
            <a:extLst>
              <a:ext uri="{FF2B5EF4-FFF2-40B4-BE49-F238E27FC236}">
                <a16:creationId xmlns:a16="http://schemas.microsoft.com/office/drawing/2014/main" id="{2FD592E2-836A-45A5-9377-5DCE8CF43D9F}"/>
              </a:ext>
            </a:extLst>
          </p:cNvPr>
          <p:cNvSpPr/>
          <p:nvPr/>
        </p:nvSpPr>
        <p:spPr>
          <a:xfrm>
            <a:off x="5373384" y="213360"/>
            <a:ext cx="154841" cy="159077"/>
          </a:xfrm>
          <a:prstGeom prst="rect">
            <a:avLst/>
          </a:prstGeom>
          <a:solidFill>
            <a:srgbClr val="00B05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08" name="Rectangle 1107">
            <a:extLst>
              <a:ext uri="{FF2B5EF4-FFF2-40B4-BE49-F238E27FC236}">
                <a16:creationId xmlns:a16="http://schemas.microsoft.com/office/drawing/2014/main" id="{A748CDC5-C9D0-E6B9-B016-05EA2BDFE7C3}"/>
              </a:ext>
            </a:extLst>
          </p:cNvPr>
          <p:cNvSpPr/>
          <p:nvPr/>
        </p:nvSpPr>
        <p:spPr>
          <a:xfrm>
            <a:off x="5541902" y="137901"/>
            <a:ext cx="1518721" cy="3099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91A37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ise en oeuvre</a:t>
            </a:r>
          </a:p>
        </p:txBody>
      </p:sp>
      <p:sp>
        <p:nvSpPr>
          <p:cNvPr id="1109" name="Rectangle 1108">
            <a:extLst>
              <a:ext uri="{FF2B5EF4-FFF2-40B4-BE49-F238E27FC236}">
                <a16:creationId xmlns:a16="http://schemas.microsoft.com/office/drawing/2014/main" id="{796726B4-06AC-E2F5-D93D-9C79C3499A40}"/>
              </a:ext>
            </a:extLst>
          </p:cNvPr>
          <p:cNvSpPr/>
          <p:nvPr/>
        </p:nvSpPr>
        <p:spPr>
          <a:xfrm>
            <a:off x="7140188" y="213360"/>
            <a:ext cx="154841" cy="159077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10" name="Rectangle 1109">
            <a:extLst>
              <a:ext uri="{FF2B5EF4-FFF2-40B4-BE49-F238E27FC236}">
                <a16:creationId xmlns:a16="http://schemas.microsoft.com/office/drawing/2014/main" id="{DCE4997D-FB3D-ADB0-B79B-4961D0DCD0F4}"/>
              </a:ext>
            </a:extLst>
          </p:cNvPr>
          <p:cNvSpPr/>
          <p:nvPr/>
        </p:nvSpPr>
        <p:spPr>
          <a:xfrm>
            <a:off x="7308706" y="137901"/>
            <a:ext cx="1518721" cy="3099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91A37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upervision</a:t>
            </a:r>
          </a:p>
        </p:txBody>
      </p:sp>
      <p:sp>
        <p:nvSpPr>
          <p:cNvPr id="1111" name="Rectangle 1110">
            <a:extLst>
              <a:ext uri="{FF2B5EF4-FFF2-40B4-BE49-F238E27FC236}">
                <a16:creationId xmlns:a16="http://schemas.microsoft.com/office/drawing/2014/main" id="{F6C59303-B8A1-CBF5-ACEE-9D5414BB05C2}"/>
              </a:ext>
            </a:extLst>
          </p:cNvPr>
          <p:cNvSpPr/>
          <p:nvPr/>
        </p:nvSpPr>
        <p:spPr>
          <a:xfrm>
            <a:off x="8736925" y="213360"/>
            <a:ext cx="154841" cy="159077"/>
          </a:xfrm>
          <a:prstGeom prst="rect">
            <a:avLst/>
          </a:prstGeom>
          <a:solidFill>
            <a:srgbClr val="00B0F0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12" name="Rectangle 1111">
            <a:extLst>
              <a:ext uri="{FF2B5EF4-FFF2-40B4-BE49-F238E27FC236}">
                <a16:creationId xmlns:a16="http://schemas.microsoft.com/office/drawing/2014/main" id="{9944F9AE-45CD-04E0-AA3E-A0F0AE3EDD52}"/>
              </a:ext>
            </a:extLst>
          </p:cNvPr>
          <p:cNvSpPr/>
          <p:nvPr/>
        </p:nvSpPr>
        <p:spPr>
          <a:xfrm>
            <a:off x="8905443" y="137901"/>
            <a:ext cx="1518721" cy="3099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91A37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porting</a:t>
            </a:r>
          </a:p>
        </p:txBody>
      </p:sp>
      <p:sp>
        <p:nvSpPr>
          <p:cNvPr id="1123" name="Ellipse 1122">
            <a:extLst>
              <a:ext uri="{FF2B5EF4-FFF2-40B4-BE49-F238E27FC236}">
                <a16:creationId xmlns:a16="http://schemas.microsoft.com/office/drawing/2014/main" id="{B4526832-01CF-F028-8E67-63A3B2855346}"/>
              </a:ext>
            </a:extLst>
          </p:cNvPr>
          <p:cNvSpPr/>
          <p:nvPr/>
        </p:nvSpPr>
        <p:spPr>
          <a:xfrm>
            <a:off x="1905610" y="2252913"/>
            <a:ext cx="364798" cy="367068"/>
          </a:xfrm>
          <a:prstGeom prst="ellipse">
            <a:avLst/>
          </a:prstGeom>
          <a:solidFill>
            <a:srgbClr val="7030A0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</a:t>
            </a:r>
          </a:p>
        </p:txBody>
      </p:sp>
      <p:sp>
        <p:nvSpPr>
          <p:cNvPr id="1124" name="Ellipse 1123">
            <a:extLst>
              <a:ext uri="{FF2B5EF4-FFF2-40B4-BE49-F238E27FC236}">
                <a16:creationId xmlns:a16="http://schemas.microsoft.com/office/drawing/2014/main" id="{BC5EED55-28B9-A7EB-22CD-7847257D121F}"/>
              </a:ext>
            </a:extLst>
          </p:cNvPr>
          <p:cNvSpPr/>
          <p:nvPr/>
        </p:nvSpPr>
        <p:spPr>
          <a:xfrm>
            <a:off x="5780024" y="5353902"/>
            <a:ext cx="364798" cy="367068"/>
          </a:xfrm>
          <a:prstGeom prst="ellipse">
            <a:avLst/>
          </a:prstGeom>
          <a:solidFill>
            <a:srgbClr val="00B050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</a:t>
            </a:r>
          </a:p>
        </p:txBody>
      </p:sp>
      <p:sp>
        <p:nvSpPr>
          <p:cNvPr id="1125" name="Ellipse 1124">
            <a:extLst>
              <a:ext uri="{FF2B5EF4-FFF2-40B4-BE49-F238E27FC236}">
                <a16:creationId xmlns:a16="http://schemas.microsoft.com/office/drawing/2014/main" id="{4CBC1F3A-85BC-B7FC-06B1-A405997F4104}"/>
              </a:ext>
            </a:extLst>
          </p:cNvPr>
          <p:cNvSpPr/>
          <p:nvPr/>
        </p:nvSpPr>
        <p:spPr>
          <a:xfrm>
            <a:off x="9695456" y="2252913"/>
            <a:ext cx="364798" cy="367068"/>
          </a:xfrm>
          <a:prstGeom prst="ellipse">
            <a:avLst/>
          </a:prstGeom>
          <a:solidFill>
            <a:srgbClr val="00B0F0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</a:t>
            </a:r>
          </a:p>
        </p:txBody>
      </p:sp>
      <p:sp>
        <p:nvSpPr>
          <p:cNvPr id="1126" name="Ellipse 1125">
            <a:extLst>
              <a:ext uri="{FF2B5EF4-FFF2-40B4-BE49-F238E27FC236}">
                <a16:creationId xmlns:a16="http://schemas.microsoft.com/office/drawing/2014/main" id="{28D501E2-1634-B5EB-2C1B-71C9D0C2A976}"/>
              </a:ext>
            </a:extLst>
          </p:cNvPr>
          <p:cNvSpPr/>
          <p:nvPr/>
        </p:nvSpPr>
        <p:spPr>
          <a:xfrm>
            <a:off x="5762848" y="2252913"/>
            <a:ext cx="364798" cy="367068"/>
          </a:xfrm>
          <a:prstGeom prst="ellipse">
            <a:avLst/>
          </a:prstGeom>
          <a:solidFill>
            <a:srgbClr val="FF6500"/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76C0186-4E15-C023-7000-C25CAD501B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075" y="6452661"/>
            <a:ext cx="685037" cy="22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454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C3828B-409F-19B9-B65F-D53B67C117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82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73" imgH="473" progId="TCLayout.ActiveDocument.1">
                  <p:embed/>
                </p:oleObj>
              </mc:Choice>
              <mc:Fallback>
                <p:oleObj name="Diapositive think-cell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C3828B-409F-19B9-B65F-D53B67C11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011739B8-D1DF-B0D5-1DA3-9E99B261649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7" b="1667"/>
          <a:stretch/>
        </p:blipFill>
        <p:spPr>
          <a:xfrm>
            <a:off x="125096" y="183733"/>
            <a:ext cx="11941174" cy="6492974"/>
          </a:xfrm>
          <a:prstGeom prst="rect">
            <a:avLst/>
          </a:prstGeom>
        </p:spPr>
      </p:pic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0914E4E-842A-1393-5598-373BA8EE61F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830" y="252000"/>
            <a:ext cx="5716800" cy="939809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252000" tIns="252000" rIns="252000" bIns="25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2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 2" panose="05020102010507070707" pitchFamily="18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2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" panose="05000000000000000000" pitchFamily="2" charset="2"/>
              <a:buChar char="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Wingdings 2" panose="05020102010507070707" pitchFamily="18" charset="2"/>
              <a:buChar char="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ci pour votre attention</a:t>
            </a:r>
          </a:p>
        </p:txBody>
      </p:sp>
    </p:spTree>
    <p:extLst>
      <p:ext uri="{BB962C8B-B14F-4D97-AF65-F5344CB8AC3E}">
        <p14:creationId xmlns:p14="http://schemas.microsoft.com/office/powerpoint/2010/main" val="2648849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MNnAx1v0OdPOxW9NKB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BlUF9cvdpm.5x6BP96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g5uvX7ieoamSHCoYN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m2TRbqLy7g3PZWkMJ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10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3.xml><?xml version="1.0" encoding="utf-8"?>
<a:theme xmlns:a="http://schemas.openxmlformats.org/drawingml/2006/main" name="1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4.xml><?xml version="1.0" encoding="utf-8"?>
<a:theme xmlns:a="http://schemas.openxmlformats.org/drawingml/2006/main" name="1_dss+">
  <a:themeElements>
    <a:clrScheme name="New dss+ color palatte">
      <a:dk1>
        <a:srgbClr val="000000"/>
      </a:dk1>
      <a:lt1>
        <a:srgbClr val="FFFFFF"/>
      </a:lt1>
      <a:dk2>
        <a:srgbClr val="191A37"/>
      </a:dk2>
      <a:lt2>
        <a:srgbClr val="F2F2F2"/>
      </a:lt2>
      <a:accent1>
        <a:srgbClr val="DA2128"/>
      </a:accent1>
      <a:accent2>
        <a:srgbClr val="191A37"/>
      </a:accent2>
      <a:accent3>
        <a:srgbClr val="9D9FA2"/>
      </a:accent3>
      <a:accent4>
        <a:srgbClr val="DCDDDE"/>
      </a:accent4>
      <a:accent5>
        <a:srgbClr val="E56045"/>
      </a:accent5>
      <a:accent6>
        <a:srgbClr val="453D56"/>
      </a:accent6>
      <a:hlink>
        <a:srgbClr val="DA2128"/>
      </a:hlink>
      <a:folHlink>
        <a:srgbClr val="191A37"/>
      </a:folHlink>
    </a:clrScheme>
    <a:fontScheme name="dss+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SS PLUS" id="{8A9B9DD6-37AB-40C7-8EAC-F49A3C77027D}" vid="{BAA0B1E0-4D66-4ADF-A9B0-8EA129713EF9}"/>
    </a:ext>
  </a:extLst>
</a:theme>
</file>

<file path=ppt/theme/theme5.xml><?xml version="1.0" encoding="utf-8"?>
<a:theme xmlns:a="http://schemas.openxmlformats.org/drawingml/2006/main" name="3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6.xml><?xml version="1.0" encoding="utf-8"?>
<a:theme xmlns:a="http://schemas.openxmlformats.org/drawingml/2006/main" name="4_Migros Vorlage Plenum">
  <a:themeElements>
    <a:clrScheme name="Personnalisé 4">
      <a:dk1>
        <a:srgbClr val="000000"/>
      </a:dk1>
      <a:lt1>
        <a:srgbClr val="E8F2E6"/>
      </a:lt1>
      <a:dk2>
        <a:srgbClr val="004632"/>
      </a:dk2>
      <a:lt2>
        <a:srgbClr val="E8F2E6"/>
      </a:lt2>
      <a:accent1>
        <a:srgbClr val="37AA41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_Praesentation_PPT_Vorlage_D_1_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7.xml><?xml version="1.0" encoding="utf-8"?>
<a:theme xmlns:a="http://schemas.openxmlformats.org/drawingml/2006/main" name="5_Migros Vorlage Plenum">
  <a:themeElements>
    <a:clrScheme name="M-Farbwelt 2017">
      <a:dk1>
        <a:srgbClr val="000000"/>
      </a:dk1>
      <a:lt1>
        <a:srgbClr val="FFFFFF"/>
      </a:lt1>
      <a:dk2>
        <a:srgbClr val="BCA89E"/>
      </a:dk2>
      <a:lt2>
        <a:srgbClr val="EAEAEA"/>
      </a:lt2>
      <a:accent1>
        <a:srgbClr val="FF6600"/>
      </a:accent1>
      <a:accent2>
        <a:srgbClr val="FFC000"/>
      </a:accent2>
      <a:accent3>
        <a:srgbClr val="C00000"/>
      </a:accent3>
      <a:accent4>
        <a:srgbClr val="3BA71C"/>
      </a:accent4>
      <a:accent5>
        <a:srgbClr val="18498C"/>
      </a:accent5>
      <a:accent6>
        <a:srgbClr val="00AECF"/>
      </a:accent6>
      <a:hlink>
        <a:srgbClr val="0000CD"/>
      </a:hlink>
      <a:folHlink>
        <a:srgbClr val="0000CD"/>
      </a:folHlink>
    </a:clrScheme>
    <a:fontScheme name="Migros">
      <a:majorFont>
        <a:latin typeface="HelveticaNowText Black"/>
        <a:ea typeface=""/>
        <a:cs typeface=""/>
      </a:majorFont>
      <a:minorFont>
        <a:latin typeface="HelveticaNowText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dirty="0" err="1" smtClean="0"/>
        </a:defPPr>
      </a:lstStyle>
    </a:spDef>
    <a:lnDef>
      <a:spPr>
        <a:ln w="12700"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lIns="36000" tIns="0" rIns="36000" bIns="0" rtlCol="0">
        <a:spAutoFit/>
      </a:bodyPr>
      <a:lstStyle>
        <a:defPPr marL="180975" indent="-180975">
          <a:spcAft>
            <a:spcPts val="0"/>
          </a:spcAft>
          <a:buClr>
            <a:schemeClr val="accent1"/>
          </a:buClr>
          <a:buFont typeface="Arial" panose="020B0604020202020204" pitchFamily="34" charset="0"/>
          <a:buChar char="•"/>
          <a:defRPr sz="1600" kern="0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_Praesentation_PPT_Vorlage_D_1_14 1">
        <a:dk1>
          <a:srgbClr val="000000"/>
        </a:dk1>
        <a:lt1>
          <a:srgbClr val="FFFFFF"/>
        </a:lt1>
        <a:dk2>
          <a:srgbClr val="FF6600"/>
        </a:dk2>
        <a:lt2>
          <a:srgbClr val="CFBFB8"/>
        </a:lt2>
        <a:accent1>
          <a:srgbClr val="FFE67F"/>
        </a:accent1>
        <a:accent2>
          <a:srgbClr val="FFB300"/>
        </a:accent2>
        <a:accent3>
          <a:srgbClr val="FFFFFF"/>
        </a:accent3>
        <a:accent4>
          <a:srgbClr val="000000"/>
        </a:accent4>
        <a:accent5>
          <a:srgbClr val="FFF0C0"/>
        </a:accent5>
        <a:accent6>
          <a:srgbClr val="E7A200"/>
        </a:accent6>
        <a:hlink>
          <a:srgbClr val="FF66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_Praesentation_PPT_Vorlage_D_1_14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464646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C4C4C4"/>
        </a:accent6>
        <a:hlink>
          <a:srgbClr val="6E6E6E"/>
        </a:hlink>
        <a:folHlink>
          <a:srgbClr val="B5B5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FE9ED151-8071-4DA9-B6BA-F4086A8CEF8B}" vid="{E72DC255-445A-4FC0-A22B-71EE38E4F404}"/>
    </a:ext>
  </a:extLst>
</a:theme>
</file>

<file path=ppt/theme/theme8.xml><?xml version="1.0" encoding="utf-8"?>
<a:theme xmlns:a="http://schemas.openxmlformats.org/drawingml/2006/main" name="Office">
  <a:themeElements>
    <a:clrScheme name="Migros Gruppe">
      <a:dk1>
        <a:srgbClr val="000000"/>
      </a:dk1>
      <a:lt1>
        <a:srgbClr val="FFFFFF"/>
      </a:lt1>
      <a:dk2>
        <a:srgbClr val="575757"/>
      </a:dk2>
      <a:lt2>
        <a:srgbClr val="ECECED"/>
      </a:lt2>
      <a:accent1>
        <a:srgbClr val="575757"/>
      </a:accent1>
      <a:accent2>
        <a:srgbClr val="F4D221"/>
      </a:accent2>
      <a:accent3>
        <a:srgbClr val="5BB145"/>
      </a:accent3>
      <a:accent4>
        <a:srgbClr val="00A3DA"/>
      </a:accent4>
      <a:accent5>
        <a:srgbClr val="FF6600"/>
      </a:accent5>
      <a:accent6>
        <a:srgbClr val="CF222A"/>
      </a:accent6>
      <a:hlink>
        <a:srgbClr val="0000CD"/>
      </a:hlink>
      <a:folHlink>
        <a:srgbClr val="0000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72000" rIns="72000" bIns="72000" rtlCol="0" anchor="t" anchorCtr="0"/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7200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_MGB_Folienmaster.potx" id="{6783AE81-1295-4048-A596-E1A9CD71DD60}" vid="{441E3D92-DE34-4EFB-8A87-2418237935C2}"/>
    </a:ext>
  </a:extLst>
</a:theme>
</file>

<file path=ppt/theme/theme9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cb4c734-b24e-48f8-9fe0-4cbfbd37bfa9">
      <UserInfo>
        <DisplayName>Coustaline, Fanny-GMGE</DisplayName>
        <AccountId>100</AccountId>
        <AccountType/>
      </UserInfo>
    </SharedWithUsers>
    <_activity xmlns="19af5877-fd6c-4d34-aef1-6952ef4dab6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40C1757CB93D42B8029017F2691F7B" ma:contentTypeVersion="16" ma:contentTypeDescription="Create a new document." ma:contentTypeScope="" ma:versionID="c70ebb1d06796106137feae25064c491">
  <xsd:schema xmlns:xsd="http://www.w3.org/2001/XMLSchema" xmlns:xs="http://www.w3.org/2001/XMLSchema" xmlns:p="http://schemas.microsoft.com/office/2006/metadata/properties" xmlns:ns3="bcb4c734-b24e-48f8-9fe0-4cbfbd37bfa9" xmlns:ns4="19af5877-fd6c-4d34-aef1-6952ef4dab68" targetNamespace="http://schemas.microsoft.com/office/2006/metadata/properties" ma:root="true" ma:fieldsID="fdbb2890ebdf688ee8aeb0d44d865b89" ns3:_="" ns4:_="">
    <xsd:import namespace="bcb4c734-b24e-48f8-9fe0-4cbfbd37bfa9"/>
    <xsd:import namespace="19af5877-fd6c-4d34-aef1-6952ef4dab6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4c734-b24e-48f8-9fe0-4cbfbd37bfa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af5877-fd6c-4d34-aef1-6952ef4dab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9109F68-9358-4D7A-B80C-7266234F4200}">
  <ds:schemaRefs>
    <ds:schemaRef ds:uri="http://schemas.microsoft.com/office/2006/metadata/properties"/>
    <ds:schemaRef ds:uri="http://purl.org/dc/terms/"/>
    <ds:schemaRef ds:uri="bcb4c734-b24e-48f8-9fe0-4cbfbd37bfa9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19af5877-fd6c-4d34-aef1-6952ef4dab68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A7FA673-066E-4A39-820B-09D3274B93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4c734-b24e-48f8-9fe0-4cbfbd37bfa9"/>
    <ds:schemaRef ds:uri="19af5877-fd6c-4d34-aef1-6952ef4dab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8D3A11-9C28-4A00-8B47-01A8BAF97C7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bad0d50-9cbb-471c-bae7-38b20ec0f1f9}" enabled="1" method="Standard" siteId="{35aa8c5b-ac0a-4b15-9788-ff6dfa22901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8</TotalTime>
  <Words>531</Words>
  <Application>Microsoft Office PowerPoint</Application>
  <PresentationFormat>Grand écran</PresentationFormat>
  <Paragraphs>106</Paragraphs>
  <Slides>6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27" baseType="lpstr">
      <vt:lpstr>Arial Unicode MS</vt:lpstr>
      <vt:lpstr>Arial</vt:lpstr>
      <vt:lpstr>Arial</vt:lpstr>
      <vt:lpstr>Calibri</vt:lpstr>
      <vt:lpstr>Century Gothic</vt:lpstr>
      <vt:lpstr>HelveticaNowText Black</vt:lpstr>
      <vt:lpstr>HelveticaNowText Regular</vt:lpstr>
      <vt:lpstr>Impact</vt:lpstr>
      <vt:lpstr>Times</vt:lpstr>
      <vt:lpstr>Wingdings</vt:lpstr>
      <vt:lpstr>Wingdings 2</vt:lpstr>
      <vt:lpstr>Wingdings 3</vt:lpstr>
      <vt:lpstr>Migros Vorlage Plenum</vt:lpstr>
      <vt:lpstr>2_Migros Vorlage Plenum</vt:lpstr>
      <vt:lpstr>1_Migros Vorlage Plenum</vt:lpstr>
      <vt:lpstr>1_dss+</vt:lpstr>
      <vt:lpstr>3_Migros Vorlage Plenum</vt:lpstr>
      <vt:lpstr>4_Migros Vorlage Plenum</vt:lpstr>
      <vt:lpstr>5_Migros Vorlage Plenum</vt:lpstr>
      <vt:lpstr>Office</vt:lpstr>
      <vt:lpstr>Diapositive think-cell</vt:lpstr>
      <vt:lpstr>Présentation PowerPoint</vt:lpstr>
      <vt:lpstr>Société Coopérative Migros Genève </vt:lpstr>
      <vt:lpstr>7 leviers pour atteindre -7GWh (75% techniques / 25% d’écogestes)</vt:lpstr>
      <vt:lpstr>Ecogestes – Étapes de transformation pour 1 site</vt:lpstr>
      <vt:lpstr>Cycle mensuel des instances de pilotage – vue d’ensemble</vt:lpstr>
      <vt:lpstr>Présentation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>Lecocq, Charlotte-GMGE</dc:creator>
  <cp:keywords/>
  <dc:description/>
  <cp:lastModifiedBy>Lecocq, Charlotte-GMGE</cp:lastModifiedBy>
  <cp:revision>25</cp:revision>
  <cp:lastPrinted>2023-09-21T15:35:30Z</cp:lastPrinted>
  <dcterms:created xsi:type="dcterms:W3CDTF">2023-09-15T08:37:47Z</dcterms:created>
  <dcterms:modified xsi:type="dcterms:W3CDTF">2024-02-29T13:17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40C1757CB93D42B8029017F2691F7B</vt:lpwstr>
  </property>
  <property fmtid="{D5CDD505-2E9C-101B-9397-08002B2CF9AE}" pid="3" name="MediaServiceImageTags">
    <vt:lpwstr/>
  </property>
</Properties>
</file>